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7.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8.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11.xml" ContentType="application/vnd.openxmlformats-officedocument.theme+xml"/>
  <Override PartName="/ppt/slideLayouts/slideLayout424.xml" ContentType="application/vnd.openxmlformats-officedocument.presentationml.slideLayout+xml"/>
  <Override PartName="/ppt/theme/theme12.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14.xml" ContentType="application/vnd.openxmlformats-officedocument.theme+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15.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6" r:id="rId5"/>
    <p:sldMasterId id="2147483786" r:id="rId6"/>
    <p:sldMasterId id="2147483819" r:id="rId7"/>
    <p:sldMasterId id="2147493601" r:id="rId8"/>
    <p:sldMasterId id="2147483880" r:id="rId9"/>
    <p:sldMasterId id="2147483833" r:id="rId10"/>
    <p:sldMasterId id="2147493605" r:id="rId11"/>
    <p:sldMasterId id="2147493674" r:id="rId12"/>
    <p:sldMasterId id="2147493750" r:id="rId13"/>
    <p:sldMasterId id="2147493776" r:id="rId14"/>
    <p:sldMasterId id="2147493793" r:id="rId15"/>
    <p:sldMasterId id="2147493795" r:id="rId16"/>
    <p:sldMasterId id="2147493884" r:id="rId17"/>
    <p:sldMasterId id="2147493622" r:id="rId18"/>
    <p:sldMasterId id="2147493940" r:id="rId19"/>
  </p:sldMasterIdLst>
  <p:notesMasterIdLst>
    <p:notesMasterId r:id="rId51"/>
  </p:notesMasterIdLst>
  <p:sldIdLst>
    <p:sldId id="2147469723" r:id="rId20"/>
    <p:sldId id="257" r:id="rId21"/>
    <p:sldId id="258" r:id="rId22"/>
    <p:sldId id="259" r:id="rId23"/>
    <p:sldId id="260" r:id="rId24"/>
    <p:sldId id="261" r:id="rId25"/>
    <p:sldId id="263" r:id="rId26"/>
    <p:sldId id="262" r:id="rId27"/>
    <p:sldId id="286" r:id="rId28"/>
    <p:sldId id="280" r:id="rId29"/>
    <p:sldId id="281" r:id="rId30"/>
    <p:sldId id="289" r:id="rId31"/>
    <p:sldId id="283" r:id="rId32"/>
    <p:sldId id="275" r:id="rId33"/>
    <p:sldId id="2076138042" r:id="rId34"/>
    <p:sldId id="285" r:id="rId35"/>
    <p:sldId id="278" r:id="rId36"/>
    <p:sldId id="290" r:id="rId37"/>
    <p:sldId id="291" r:id="rId38"/>
    <p:sldId id="292" r:id="rId39"/>
    <p:sldId id="293" r:id="rId40"/>
    <p:sldId id="294" r:id="rId41"/>
    <p:sldId id="266" r:id="rId42"/>
    <p:sldId id="267" r:id="rId43"/>
    <p:sldId id="269" r:id="rId44"/>
    <p:sldId id="287" r:id="rId45"/>
    <p:sldId id="271" r:id="rId46"/>
    <p:sldId id="272" r:id="rId47"/>
    <p:sldId id="288" r:id="rId48"/>
    <p:sldId id="268" r:id="rId49"/>
    <p:sldId id="2076138041" r:id="rId5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CEA088-214E-5721-0042-0E63ABD2E4C2}" name="Pratibha Sood" initials="PS" userId="S::prsood@microsoft.com::757de0c6-7155-45cc-8575-9f822407d213" providerId="AD"/>
  <p188:author id="{A0682DA7-C9D0-990B-7504-6B487E896CA5}" name="Niels Ophey" initials="NO" userId="S::niophey@microsoft.com::e92edb78-61d0-4c9f-b47b-e90ce40b953d" providerId="AD"/>
  <p188:author id="{59ED9FC9-C569-29A7-EF32-D5477747CED8}" name="Anitah Cantele" initials="AC" userId="S::ancantel@microsoft.com::288e8f93-ad3d-481b-9c5a-2d5c2a4b6cf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29" autoAdjust="0"/>
    <p:restoredTop sz="72506" autoAdjust="0"/>
  </p:normalViewPr>
  <p:slideViewPr>
    <p:cSldViewPr snapToGrid="0">
      <p:cViewPr varScale="1">
        <p:scale>
          <a:sx n="84" d="100"/>
          <a:sy n="84" d="100"/>
        </p:scale>
        <p:origin x="1284" y="78"/>
      </p:cViewPr>
      <p:guideLst/>
    </p:cSldViewPr>
  </p:slideViewPr>
  <p:outlineViewPr>
    <p:cViewPr>
      <p:scale>
        <a:sx n="33" d="100"/>
        <a:sy n="33" d="100"/>
      </p:scale>
      <p:origin x="0" y="-812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 Quoc Huy (FHN.TCS)" userId="458c0cbc-d8c8-4ebf-a6da-b6a72fbd1854" providerId="ADAL" clId="{FF251FCC-FDFC-4A8D-A571-068D3A13395F}"/>
    <pc:docChg chg="delSld modSld">
      <pc:chgData name="An Quoc Huy (FHN.TCS)" userId="458c0cbc-d8c8-4ebf-a6da-b6a72fbd1854" providerId="ADAL" clId="{FF251FCC-FDFC-4A8D-A571-068D3A13395F}" dt="2022-06-23T08:31:09.014" v="4" actId="47"/>
      <pc:docMkLst>
        <pc:docMk/>
      </pc:docMkLst>
      <pc:sldChg chg="del">
        <pc:chgData name="An Quoc Huy (FHN.TCS)" userId="458c0cbc-d8c8-4ebf-a6da-b6a72fbd1854" providerId="ADAL" clId="{FF251FCC-FDFC-4A8D-A571-068D3A13395F}" dt="2022-06-23T08:31:06.193" v="1" actId="47"/>
        <pc:sldMkLst>
          <pc:docMk/>
          <pc:sldMk cId="956526444" sldId="264"/>
        </pc:sldMkLst>
      </pc:sldChg>
      <pc:sldChg chg="del">
        <pc:chgData name="An Quoc Huy (FHN.TCS)" userId="458c0cbc-d8c8-4ebf-a6da-b6a72fbd1854" providerId="ADAL" clId="{FF251FCC-FDFC-4A8D-A571-068D3A13395F}" dt="2022-06-23T08:31:09.014" v="4" actId="47"/>
        <pc:sldMkLst>
          <pc:docMk/>
          <pc:sldMk cId="1858893791" sldId="270"/>
        </pc:sldMkLst>
      </pc:sldChg>
      <pc:sldChg chg="del">
        <pc:chgData name="An Quoc Huy (FHN.TCS)" userId="458c0cbc-d8c8-4ebf-a6da-b6a72fbd1854" providerId="ADAL" clId="{FF251FCC-FDFC-4A8D-A571-068D3A13395F}" dt="2022-06-23T08:31:08.399" v="3" actId="47"/>
        <pc:sldMkLst>
          <pc:docMk/>
          <pc:sldMk cId="703803964" sldId="279"/>
        </pc:sldMkLst>
      </pc:sldChg>
      <pc:sldChg chg="del">
        <pc:chgData name="An Quoc Huy (FHN.TCS)" userId="458c0cbc-d8c8-4ebf-a6da-b6a72fbd1854" providerId="ADAL" clId="{FF251FCC-FDFC-4A8D-A571-068D3A13395F}" dt="2022-06-23T08:31:07.476" v="2" actId="47"/>
        <pc:sldMkLst>
          <pc:docMk/>
          <pc:sldMk cId="128971824" sldId="284"/>
        </pc:sldMkLst>
      </pc:sldChg>
      <pc:sldChg chg="modSp mod">
        <pc:chgData name="An Quoc Huy (FHN.TCS)" userId="458c0cbc-d8c8-4ebf-a6da-b6a72fbd1854" providerId="ADAL" clId="{FF251FCC-FDFC-4A8D-A571-068D3A13395F}" dt="2022-06-23T08:16:21.474" v="0" actId="20577"/>
        <pc:sldMkLst>
          <pc:docMk/>
          <pc:sldMk cId="2926805974" sldId="288"/>
        </pc:sldMkLst>
        <pc:spChg chg="mod">
          <ac:chgData name="An Quoc Huy (FHN.TCS)" userId="458c0cbc-d8c8-4ebf-a6da-b6a72fbd1854" providerId="ADAL" clId="{FF251FCC-FDFC-4A8D-A571-068D3A13395F}" dt="2022-06-23T08:16:21.474" v="0" actId="20577"/>
          <ac:spMkLst>
            <pc:docMk/>
            <pc:sldMk cId="2926805974" sldId="288"/>
            <ac:spMk id="9" creationId="{C944BB8F-FFCD-4FF3-9BA2-0ECCE14BFF3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CBC199-A075-449D-8219-117BB6159670}" type="datetimeFigureOut">
              <a:rPr lang="en-US" smtClean="0"/>
              <a:t>6/23/2022</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BE5BA2-B426-4095-8A2B-C69573E36F2D}" type="slidenum">
              <a:rPr lang="en-US" smtClean="0"/>
              <a:t>‹#›</a:t>
            </a:fld>
            <a:endParaRPr lang="en-US"/>
          </a:p>
        </p:txBody>
      </p:sp>
    </p:spTree>
    <p:extLst>
      <p:ext uri="{BB962C8B-B14F-4D97-AF65-F5344CB8AC3E}">
        <p14:creationId xmlns:p14="http://schemas.microsoft.com/office/powerpoint/2010/main" val="4129323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overview/linux-on-azu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azure.microsoft.com/en-us/migration/migration-program/"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0"/>
              </a:spcAft>
            </a:pPr>
            <a:r>
              <a:rPr lang="en-US" sz="1800" dirty="0">
                <a:solidFill>
                  <a:srgbClr val="000000"/>
                </a:solidFill>
                <a:effectLst/>
                <a:latin typeface="Segoe UI" panose="020B0502040204020203" pitchFamily="34" charset="0"/>
                <a:cs typeface="Arial" panose="020B0604020202020204" pitchFamily="34" charset="0"/>
              </a:rPr>
              <a:t>Every customer that we speak to is facing headwinds and economic challenges in this macro environmen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930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0000"/>
                </a:solidFill>
                <a:effectLst/>
                <a:latin typeface="Segoe UI" panose="020B0502040204020203" pitchFamily="34" charset="0"/>
                <a:ea typeface="Calibri" panose="020F0502020204030204" pitchFamily="34" charset="0"/>
              </a:rPr>
              <a:t>You can rely on multi-layered hybrid security in Azure – be it customized hardware or security controls integrated into hardware and firmware components.  Protect your cloud workloads with context from &gt;8T threat signals processed per day.  Secure your entire org with cloud-native SIEM accessed from anywhere.</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Identity and Access Management tools </a:t>
            </a:r>
            <a:r>
              <a:rPr lang="en-US" sz="1200" b="0" i="0" u="none" strike="noStrike" kern="1200">
                <a:solidFill>
                  <a:schemeClr val="tx1"/>
                </a:solidFill>
                <a:effectLst/>
                <a:latin typeface="Segoe UI Light" pitchFamily="34" charset="0"/>
                <a:ea typeface="+mn-ea"/>
                <a:cs typeface="+mn-cs"/>
              </a:rPr>
              <a:t>enable you to take an identity-based approach to security, and establish truly conditional access policies</a:t>
            </a:r>
            <a:r>
              <a:rPr lang="en-US" sz="1200" b="0" i="0" kern="1200">
                <a:solidFill>
                  <a:schemeClr val="tx1"/>
                </a:solidFill>
                <a:effectLst/>
                <a:latin typeface="Segoe UI Light" pitchFamily="34" charset="0"/>
                <a:ea typeface="+mn-ea"/>
                <a:cs typeface="+mn-cs"/>
              </a:rPr>
              <a:t>​</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Segoe UI Light" pitchFamily="34" charset="0"/>
                <a:ea typeface="+mn-ea"/>
                <a:cs typeface="+mn-cs"/>
              </a:rPr>
              <a:t>Our </a:t>
            </a:r>
            <a:r>
              <a:rPr lang="en-US" sz="1200" b="1" i="0" u="none" strike="noStrike" kern="1200">
                <a:solidFill>
                  <a:schemeClr val="tx1"/>
                </a:solidFill>
                <a:effectLst/>
                <a:latin typeface="Segoe UI Light" pitchFamily="34" charset="0"/>
                <a:ea typeface="+mn-ea"/>
                <a:cs typeface="+mn-cs"/>
              </a:rPr>
              <a:t>App and Data Security </a:t>
            </a:r>
            <a:r>
              <a:rPr lang="en-US" sz="1200" b="0" i="0" u="none" strike="noStrike" kern="1200">
                <a:solidFill>
                  <a:schemeClr val="tx1"/>
                </a:solidFill>
                <a:effectLst/>
                <a:latin typeface="Segoe UI Light" pitchFamily="34" charset="0"/>
                <a:ea typeface="+mn-ea"/>
                <a:cs typeface="+mn-cs"/>
              </a:rPr>
              <a:t>help you protect your apps and your data as it moves around—both inside and outside your organization</a:t>
            </a:r>
            <a:r>
              <a:rPr lang="en-US" sz="1200" b="0" i="0" kern="1200">
                <a:solidFill>
                  <a:schemeClr val="tx1"/>
                </a:solidFill>
                <a:effectLst/>
                <a:latin typeface="Segoe UI Light"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Network security</a:t>
            </a:r>
            <a:r>
              <a:rPr lang="en-US" sz="1200"/>
              <a:t>: E</a:t>
            </a:r>
            <a:r>
              <a:rPr lang="en-US" sz="1200" kern="1200">
                <a:solidFill>
                  <a:schemeClr val="tx1"/>
                </a:solidFill>
                <a:effectLst/>
                <a:latin typeface="Segoe UI Light" pitchFamily="34" charset="0"/>
                <a:ea typeface="+mn-ea"/>
                <a:cs typeface="+mn-cs"/>
              </a:rPr>
              <a:t>stablish secure connections to and within Azure using virtual networks, network security groups, VPN, and ExpressRoute. Protect and ensure availability of your apps, protect against network layer threats with services like Web Application Firewall, Azure Firewall and Azure DDoS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solidFill>
                  <a:schemeClr val="tx1"/>
                </a:solidFill>
                <a:effectLst/>
                <a:latin typeface="Segoe UI Light" pitchFamily="34" charset="0"/>
                <a:ea typeface="+mn-ea"/>
                <a:cs typeface="+mn-cs"/>
              </a:rPr>
              <a:t>Threat protection </a:t>
            </a:r>
            <a:r>
              <a:rPr lang="en-US" sz="1200" b="0" i="0" kern="1200">
                <a:solidFill>
                  <a:schemeClr val="tx1"/>
                </a:solidFill>
                <a:effectLst/>
                <a:latin typeface="Segoe UI Light" pitchFamily="34" charset="0"/>
                <a:ea typeface="+mn-ea"/>
                <a:cs typeface="+mn-cs"/>
              </a:rPr>
              <a:t>- </a:t>
            </a:r>
            <a:r>
              <a:rPr lang="en-US" sz="1800">
                <a:effectLst/>
                <a:latin typeface="Calibri" panose="020F0502020204030204" pitchFamily="34" charset="0"/>
                <a:ea typeface="Calibri" panose="020F0502020204030204" pitchFamily="34" charset="0"/>
                <a:cs typeface="Calibri" panose="020F0502020204030204" pitchFamily="34" charset="0"/>
              </a:rPr>
              <a:t>Secure your entire organization from threats with Azure Sentinel - a cloud native SIEM (Security Information and Events Management) - that scales to your needs and </a:t>
            </a:r>
            <a:r>
              <a:rPr lang="en-US" sz="1800">
                <a:effectLst/>
                <a:latin typeface="Calibri" panose="020F0502020204030204" pitchFamily="34" charset="0"/>
                <a:ea typeface="PMingLiU" panose="02020500000000000000" pitchFamily="18" charset="-120"/>
                <a:cs typeface="Calibri" panose="020F0502020204030204" pitchFamily="34" charset="0"/>
              </a:rPr>
              <a:t>can be accessed from anywhere. </a:t>
            </a:r>
            <a:endParaRPr lang="en-US" sz="1800">
              <a:effectLst/>
              <a:latin typeface="Calibri" panose="020F0502020204030204" pitchFamily="34" charset="0"/>
              <a:ea typeface="PMingLiU" panose="02020500000000000000" pitchFamily="18" charset="-120"/>
              <a:cs typeface="Arial" panose="020B0604020202020204" pitchFamily="34" charset="0"/>
            </a:endParaRP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Security Management</a:t>
            </a:r>
            <a:r>
              <a:rPr lang="en-US" sz="1200" kern="1200">
                <a:solidFill>
                  <a:schemeClr val="tx1"/>
                </a:solidFill>
                <a:effectLst/>
                <a:latin typeface="Segoe UI Light" pitchFamily="34" charset="0"/>
                <a:ea typeface="+mn-ea"/>
                <a:cs typeface="+mn-cs"/>
              </a:rPr>
              <a:t>: It is important to assess security state continuously, especially as cloud workloads change dynamically.  Azure Security Center will help you monitor security state of Azure resources and hybrid workloads. It will provide a dynamic security score card and recommendations to improve your security in a centralized console making security management easier across different resources. And you get advanced threat protection across many services like virtual machines, servers, apps, Azure SQL, Storage, containers on VMs – backed by Microsoft Intelligent Graph you are able to detect and respond to threats quickly across these services.  Plus, manage data across your enterprise with Azure Sentinel.</a:t>
            </a:r>
          </a:p>
          <a:p>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cs typeface="Calibri"/>
              </a:rPr>
              <a:t>Finally, take advantage of extended security updates and integrate with our many partner solutions. </a:t>
            </a:r>
            <a:r>
              <a:rPr lang="en-US">
                <a:highlight>
                  <a:srgbClr val="FFFF00"/>
                </a:highlight>
              </a:rPr>
              <a:t>These are the solutions that you can use to get further enhanced protection for your Azure and hybrid workloads quickly.</a:t>
            </a:r>
          </a:p>
          <a:p>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536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akes a comprehensive approach and offers unique hybrid capabilities that give customers the flexibility to innovate anywhere in their environment.</a:t>
            </a:r>
          </a:p>
          <a:p>
            <a:endParaRPr lang="en-US" dirty="0"/>
          </a:p>
          <a:p>
            <a:r>
              <a:rPr lang="en-US" sz="1200" kern="1200" dirty="0">
                <a:solidFill>
                  <a:schemeClr val="tx1"/>
                </a:solidFill>
                <a:effectLst/>
                <a:latin typeface="+mn-lt"/>
                <a:ea typeface="+mn-ea"/>
                <a:cs typeface="+mn-cs"/>
              </a:rPr>
              <a:t>Enabled by Azure Arc, you can bring Azure services to any existing infrastructure including other clouds you are using, so you can take advantage of cloud benefits everywhere, such as scalability, fast deployment, and always up-to-date cloud innovation.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build Azure-consistent new cloud infrastructure in your own datacenter with Azure Stack, so you can modernize your datacenter and run cloud native applications on-premises while taking advantage of existing investments and meeting regulatory complianc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 can extend AI to edge devices with Azure IoT, so you can run machine learning and advanced analytics close to the users and the data. As a result, you can gain real-time insights and deliver immersive experiences at the edge of your network, opening up endless new business opportun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d you can do it all using Azure Arc as the single control plane to seamlessly manage and secure your IT resources, such as Linux/Windows VMs and Kubernetes clusters, across </a:t>
            </a:r>
            <a:r>
              <a:rPr lang="en-US" sz="1200" kern="1200" dirty="0" err="1">
                <a:solidFill>
                  <a:schemeClr val="tx1"/>
                </a:solidFill>
                <a:effectLst/>
                <a:latin typeface="+mn-lt"/>
                <a:ea typeface="+mn-ea"/>
                <a:cs typeface="+mn-cs"/>
              </a:rPr>
              <a:t>multicloud</a:t>
            </a:r>
            <a:r>
              <a:rPr lang="en-US" sz="1200" kern="1200" dirty="0">
                <a:solidFill>
                  <a:schemeClr val="tx1"/>
                </a:solidFill>
                <a:effectLst/>
                <a:latin typeface="+mn-lt"/>
                <a:ea typeface="+mn-ea"/>
                <a:cs typeface="+mn-cs"/>
              </a:rPr>
              <a:t>, on-premises and the edg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w let’s take a deeper look at the three hero Hybrid offerings: Azure Arc, Azure Stack and Azure Io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8903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zure offers built-in backup and disaster recovery services  that are easy to deploy, cost-effective, secure, and scalable, providing you with an end-to-end business continuity solution.</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In the case of a disruption, whether it’s ransomware, data deletion or corruption due to human errors or outages, you can recover your apps and data in a timely and reliable manner.</a:t>
            </a:r>
          </a:p>
          <a:p>
            <a:pPr marL="0" indent="0">
              <a:buFont typeface="Arial" panose="020B0604020202020204" pitchFamily="34" charset="0"/>
              <a:buNone/>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n IDC study showed that compared to on-premises backup and disaster recovery solutions, customers that used Azure Backup and Azure Site Recovery achieved significant improvement in business operations, with an estimated 337% ROI in 5 years.</a:t>
            </a:r>
          </a:p>
          <a:p>
            <a:pPr marL="285750" indent="-285750">
              <a:buFont typeface="Arial" panose="020B0604020202020204" pitchFamily="34" charset="0"/>
              <a:buChar char="•"/>
            </a:pPr>
            <a:endPar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With Azure, customers can also enjoy high availability. From a single virtual machine to a datacenter to an entire region, we have guaranteed SLAs and industry leading RPO (Recovery Point Objective) and RTO (Recovery Time Objective). In fact, the average Azure VM uptime was </a:t>
            </a:r>
            <a:r>
              <a:rPr lang="en-US" sz="18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99.998%</a:t>
            </a: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rolling 12 months to April 2020.</a:t>
            </a:r>
          </a:p>
          <a:p>
            <a:pPr marL="0" marR="0" lvl="0" indent="0">
              <a:lnSpc>
                <a:spcPct val="107000"/>
              </a:lnSpc>
              <a:spcBef>
                <a:spcPts val="0"/>
              </a:spcBef>
              <a:spcAft>
                <a:spcPts val="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dditional note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Once enabled, customers benefit from minimal maintenance and monitoring overhead, remote management capabilities, enhanced security, and the ability to immutably recover business services in a timely and orchestrated manner. Customers can also use the preferred backup provider of choice and take advantage of built in Azure integrations to extend their on-premises BCDR solutions to Azure. All of this is possible without the need to learn new tools for configuration o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Backup is designed specifically to back up and restore data, and Azure Site Recovery is designed to perform seamless application disaster recovery. Together, these services provide an end-to-end solution that can be implemented and scaled with just a few click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y not having to build on-premises solutions or maintain a costly secondary datacenter, users can reduce the cost of deploying, monitoring, patching, and scaling disaster recovery infrastructure. Azure Backup automatically allocates and manages backup storage with flexible policies to optimize cost and meet business objectives. Users can add or remove managed resources through the Azure portal as storage needs fluctuate over time. Together, Azure Backup and Azure Site Recovery use the underlying power and unlimited scale of the cloud to deliver high availability with minimal maintenance or monitoring overhead. These native capabilities are available through a pay-as-you-use model that bills only for the storage that is consumed.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or further simplicity, Azure’s centralized management interface for Azure Backup and Azure Site Recovery makes it simple to define policies to natively protect, monitor, and manage a wide range of enterprise workloads including Azure Virtual Machines, SQL and SAP databases, on-premises Windows servers and VMware machines. Using Azure Site Recovery, users can set up and manage replication, failover, and failback from a single location in the Azure portal. The Azure hybrid services tool in Windows Admin Center can also be used as a centralized hub to easily discover all the available Azure services that bring value to on-premises or hybrid environments. Windows Admin Center streamlines setup and the process of replicating virtual machines on Hyper-V servers or clusters, making it easier to bolster the resiliency of environments with Azure Site Recovery's disaster recovery servic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is committed to providing the best-in-class data protection to keep your applications running. Azure Backup protects backups of on-premises and cloud-resources from ransomware attacks by isolating backup data from source data, combined with multi-factor authentication and the ability to recover maliciously or accidentally deleted backup data. With Azure Site Recovery you can fail over VMs to the cloud or between cloud data centers and secure them with network security group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eace of mind is paramount when it comes to recovering from the unexpected. In the case of a disruption, accidental deletion, or corruption of data, customers can be rest assured that they will be able to recover their business services and data in a timely and orchestrated manner. These native capabilities support low recovery-point objective (RPO) and recovery-time objective (RTO) targets for any mission-critical workload in your organization. Azure is here to help customers pivot towards a strengthened BCDR strategy.</a:t>
            </a:r>
          </a:p>
          <a:p>
            <a:endParaRPr lang="en-US" sz="12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dirty="0">
                <a:latin typeface="Segoe UI"/>
                <a:cs typeface="Segoe UI"/>
              </a:rPr>
              <a:t>Azure infrastructure is designed to run every type of workload, from general purpose workloads such as Windows Server, SQL and Linux, to specialized (or purpose-built) workloads like VMware, SAP, Cray, and NetApp.</a:t>
            </a:r>
          </a:p>
          <a:p>
            <a:endParaRPr lang="en-US" sz="800" b="0" dirty="0">
              <a:latin typeface="Segoe UI"/>
              <a:cs typeface="Segoe UI"/>
            </a:endParaRPr>
          </a:p>
          <a:p>
            <a:r>
              <a:rPr lang="en-US" sz="800" b="0" dirty="0">
                <a:latin typeface="Segoe UI"/>
                <a:cs typeface="Segoe UI"/>
              </a:rPr>
              <a:t>To achieve this, Azure offers </a:t>
            </a:r>
            <a:r>
              <a:rPr lang="en-US" sz="800" b="1" dirty="0">
                <a:latin typeface="Segoe UI"/>
                <a:cs typeface="Segoe UI"/>
              </a:rPr>
              <a:t>every type of virtual machine </a:t>
            </a:r>
            <a:r>
              <a:rPr lang="en-US" sz="800" b="0" dirty="0">
                <a:latin typeface="Segoe UI"/>
                <a:cs typeface="Segoe UI"/>
              </a:rPr>
              <a:t>to meet your compute needs – we offer a broad VM series optimized for compute, memory, disk, or GPU intensive workloads. Regardless of where you are in your cloud journey, Azure VMs can handle entry level workloads up to quantum computing. And this portfolio is growing constantly!</a:t>
            </a:r>
          </a:p>
          <a:p>
            <a:endParaRPr lang="en-US" sz="800" b="0" dirty="0">
              <a:latin typeface="Segoe UI"/>
              <a:cs typeface="Segoe UI"/>
            </a:endParaRPr>
          </a:p>
          <a:p>
            <a:r>
              <a:rPr lang="en-US" sz="800" b="0" dirty="0">
                <a:latin typeface="Segoe UI"/>
                <a:cs typeface="Segoe UI"/>
              </a:rPr>
              <a:t>We also offer </a:t>
            </a:r>
            <a:r>
              <a:rPr lang="en-US" sz="900" dirty="0">
                <a:solidFill>
                  <a:srgbClr val="4472C4"/>
                </a:solidFill>
                <a:effectLst/>
                <a:latin typeface="Calibri" panose="020F0502020204030204" pitchFamily="34" charset="0"/>
                <a:ea typeface="Calibri" panose="020F0502020204030204" pitchFamily="34" charset="0"/>
              </a:rPr>
              <a:t>a </a:t>
            </a:r>
            <a:r>
              <a:rPr lang="en-US" sz="900" b="1" dirty="0">
                <a:solidFill>
                  <a:srgbClr val="4472C4"/>
                </a:solidFill>
                <a:effectLst/>
                <a:latin typeface="Calibri" panose="020F0502020204030204" pitchFamily="34" charset="0"/>
                <a:ea typeface="Calibri" panose="020F0502020204030204" pitchFamily="34" charset="0"/>
              </a:rPr>
              <a:t>comprehensive range of disk storage solutions </a:t>
            </a:r>
            <a:r>
              <a:rPr lang="en-US" sz="900" dirty="0">
                <a:solidFill>
                  <a:srgbClr val="4472C4"/>
                </a:solidFill>
                <a:effectLst/>
                <a:latin typeface="Calibri" panose="020F0502020204030204" pitchFamily="34" charset="0"/>
                <a:ea typeface="Calibri" panose="020F0502020204030204" pitchFamily="34" charset="0"/>
              </a:rPr>
              <a:t>for every workload – from low-cost storage options for backup to high throughput, low latency storage for demanding workloads. Choose from disk storage options at various sizes (4GB to 64 TB) and price points, which enable you to optimize performance and costs by selecting the appropriate storage for your workload nee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Standard HDDs</a:t>
            </a:r>
            <a:r>
              <a:rPr lang="en-US" sz="900" dirty="0">
                <a:solidFill>
                  <a:srgbClr val="4472C4"/>
                </a:solidFill>
                <a:effectLst/>
                <a:latin typeface="Calibri" panose="020F0502020204030204" pitchFamily="34" charset="0"/>
                <a:ea typeface="Calibri" panose="020F0502020204030204" pitchFamily="34" charset="0"/>
              </a:rPr>
              <a:t> deliver </a:t>
            </a:r>
            <a:r>
              <a:rPr lang="en-US" sz="900" b="1" dirty="0">
                <a:solidFill>
                  <a:srgbClr val="4472C4"/>
                </a:solidFill>
                <a:effectLst/>
                <a:latin typeface="Calibri" panose="020F0502020204030204" pitchFamily="34" charset="0"/>
                <a:ea typeface="Calibri" panose="020F0502020204030204" pitchFamily="34" charset="0"/>
              </a:rPr>
              <a:t>reliable, low-cost storage </a:t>
            </a:r>
            <a:r>
              <a:rPr lang="en-US" sz="900" dirty="0">
                <a:solidFill>
                  <a:srgbClr val="4472C4"/>
                </a:solidFill>
                <a:effectLst/>
                <a:latin typeface="Calibri" panose="020F0502020204030204" pitchFamily="34" charset="0"/>
                <a:ea typeface="Calibri" panose="020F0502020204030204" pitchFamily="34" charset="0"/>
              </a:rPr>
              <a:t>for Azure virtual machines running latency-insensitive workloads. Standard HDDs are suitable for backups and less-critical workload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Standard SSDs </a:t>
            </a:r>
            <a:r>
              <a:rPr lang="en-US" sz="900" dirty="0">
                <a:solidFill>
                  <a:srgbClr val="4472C4"/>
                </a:solidFill>
                <a:effectLst/>
                <a:latin typeface="Calibri" panose="020F0502020204030204" pitchFamily="34" charset="0"/>
                <a:ea typeface="Calibri" panose="020F0502020204030204" pitchFamily="34" charset="0"/>
              </a:rPr>
              <a:t>offers </a:t>
            </a:r>
            <a:r>
              <a:rPr lang="en-US" sz="900" b="1" dirty="0">
                <a:solidFill>
                  <a:srgbClr val="4472C4"/>
                </a:solidFill>
                <a:effectLst/>
                <a:latin typeface="Calibri" panose="020F0502020204030204" pitchFamily="34" charset="0"/>
                <a:ea typeface="Calibri" panose="020F0502020204030204" pitchFamily="34" charset="0"/>
              </a:rPr>
              <a:t>consistent performance </a:t>
            </a:r>
            <a:r>
              <a:rPr lang="en-US" sz="900" dirty="0">
                <a:solidFill>
                  <a:srgbClr val="4472C4"/>
                </a:solidFill>
                <a:effectLst/>
                <a:latin typeface="Calibri" panose="020F0502020204030204" pitchFamily="34" charset="0"/>
                <a:ea typeface="Calibri" panose="020F0502020204030204" pitchFamily="34" charset="0"/>
              </a:rPr>
              <a:t>and is suitable for </a:t>
            </a:r>
            <a:r>
              <a:rPr lang="en-US" sz="900" b="1" dirty="0">
                <a:solidFill>
                  <a:srgbClr val="4472C4"/>
                </a:solidFill>
                <a:effectLst/>
                <a:latin typeface="Calibri" panose="020F0502020204030204" pitchFamily="34" charset="0"/>
                <a:ea typeface="Calibri" panose="020F0502020204030204" pitchFamily="34" charset="0"/>
              </a:rPr>
              <a:t>web servers, lightly used enterprise applications</a:t>
            </a:r>
            <a:r>
              <a:rPr lang="en-US" sz="900" dirty="0">
                <a:solidFill>
                  <a:srgbClr val="4472C4"/>
                </a:solidFill>
                <a:effectLst/>
                <a:latin typeface="Calibri" panose="020F0502020204030204" pitchFamily="34" charset="0"/>
                <a:ea typeface="Calibri" panose="020F0502020204030204" pitchFamily="34" charset="0"/>
              </a:rPr>
              <a:t>.​</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dirty="0">
                <a:solidFill>
                  <a:srgbClr val="4472C4"/>
                </a:solidFill>
                <a:effectLst/>
                <a:latin typeface="Calibri" panose="020F0502020204030204" pitchFamily="34" charset="0"/>
                <a:ea typeface="Calibri" panose="020F0502020204030204" pitchFamily="34" charset="0"/>
              </a:rPr>
              <a:t>​</a:t>
            </a:r>
            <a:r>
              <a:rPr lang="en-US" sz="900" b="1" dirty="0">
                <a:solidFill>
                  <a:srgbClr val="4472C4"/>
                </a:solidFill>
                <a:effectLst/>
                <a:latin typeface="Calibri" panose="020F0502020204030204" pitchFamily="34" charset="0"/>
                <a:ea typeface="Calibri" panose="020F0502020204030204" pitchFamily="34" charset="0"/>
              </a:rPr>
              <a:t>Azure Premium SSDs </a:t>
            </a:r>
            <a:r>
              <a:rPr lang="en-US" sz="900" dirty="0">
                <a:solidFill>
                  <a:srgbClr val="4472C4"/>
                </a:solidFill>
                <a:effectLst/>
                <a:latin typeface="Calibri" panose="020F0502020204030204" pitchFamily="34" charset="0"/>
                <a:ea typeface="Calibri" panose="020F0502020204030204" pitchFamily="34" charset="0"/>
              </a:rPr>
              <a:t>deliver </a:t>
            </a:r>
            <a:r>
              <a:rPr lang="en-US" sz="900" b="1" dirty="0">
                <a:solidFill>
                  <a:srgbClr val="4472C4"/>
                </a:solidFill>
                <a:effectLst/>
                <a:latin typeface="Calibri" panose="020F0502020204030204" pitchFamily="34" charset="0"/>
                <a:ea typeface="Calibri" panose="020F0502020204030204" pitchFamily="34" charset="0"/>
              </a:rPr>
              <a:t>high-performance and low-latency</a:t>
            </a:r>
            <a:r>
              <a:rPr lang="en-US" sz="900" dirty="0">
                <a:solidFill>
                  <a:srgbClr val="4472C4"/>
                </a:solidFill>
                <a:effectLst/>
                <a:latin typeface="Calibri" panose="020F0502020204030204" pitchFamily="34" charset="0"/>
                <a:ea typeface="Calibri" panose="020F0502020204030204" pitchFamily="34" charset="0"/>
              </a:rPr>
              <a:t> block storage for Azure virtual machines. Premium SSDs are suitable for databases, enterprise production workloads, and container volumes.​</a:t>
            </a:r>
            <a:endParaRPr lang="en-US" sz="900" dirty="0">
              <a:effectLst/>
              <a:latin typeface="Calibri" panose="020F0502020204030204" pitchFamily="34" charset="0"/>
              <a:ea typeface="Calibri" panose="020F0502020204030204" pitchFamily="34" charset="0"/>
            </a:endParaRPr>
          </a:p>
          <a:p>
            <a:pPr marL="285750" marR="0" indent="-285750" fontAlgn="base">
              <a:spcBef>
                <a:spcPts val="0"/>
              </a:spcBef>
              <a:spcAft>
                <a:spcPts val="0"/>
              </a:spcAft>
              <a:buFont typeface="Wingdings" panose="05000000000000000000" pitchFamily="2" charset="2"/>
              <a:buChar char="§"/>
            </a:pPr>
            <a:r>
              <a:rPr lang="en-US" sz="900" b="1" dirty="0">
                <a:solidFill>
                  <a:srgbClr val="4472C4"/>
                </a:solidFill>
                <a:effectLst/>
                <a:latin typeface="Calibri" panose="020F0502020204030204" pitchFamily="34" charset="0"/>
                <a:ea typeface="Calibri" panose="020F0502020204030204" pitchFamily="34" charset="0"/>
              </a:rPr>
              <a:t>Azure Ultra Disks </a:t>
            </a:r>
            <a:r>
              <a:rPr lang="en-US" sz="900" dirty="0">
                <a:solidFill>
                  <a:srgbClr val="4472C4"/>
                </a:solidFill>
                <a:effectLst/>
                <a:latin typeface="Calibri" panose="020F0502020204030204" pitchFamily="34" charset="0"/>
                <a:ea typeface="Calibri" panose="020F0502020204030204" pitchFamily="34" charset="0"/>
              </a:rPr>
              <a:t>delivers </a:t>
            </a:r>
            <a:r>
              <a:rPr lang="en-US" sz="900" b="1" dirty="0">
                <a:solidFill>
                  <a:srgbClr val="4472C4"/>
                </a:solidFill>
                <a:effectLst/>
                <a:latin typeface="Calibri" panose="020F0502020204030204" pitchFamily="34" charset="0"/>
                <a:ea typeface="Calibri" panose="020F0502020204030204" pitchFamily="34" charset="0"/>
              </a:rPr>
              <a:t>high throughput, high IOPS, and sub-millisecond latency block storage </a:t>
            </a:r>
            <a:r>
              <a:rPr lang="en-US" sz="900" dirty="0">
                <a:solidFill>
                  <a:srgbClr val="4472C4"/>
                </a:solidFill>
                <a:effectLst/>
                <a:latin typeface="Calibri" panose="020F0502020204030204" pitchFamily="34" charset="0"/>
                <a:ea typeface="Calibri" panose="020F0502020204030204" pitchFamily="34" charset="0"/>
              </a:rPr>
              <a:t>for Azure virtual machines. Ultra Disks are suited for data-intensive workloads such as SAP HANA, top tier databases, and transaction-heavy workloads.​</a:t>
            </a:r>
            <a:endParaRPr lang="en-US" sz="900" dirty="0">
              <a:effectLst/>
              <a:latin typeface="Calibri" panose="020F0502020204030204" pitchFamily="34" charset="0"/>
              <a:ea typeface="Calibri" panose="020F0502020204030204" pitchFamily="34" charset="0"/>
            </a:endParaRPr>
          </a:p>
          <a:p>
            <a:endParaRPr lang="en-US" sz="800" b="0" dirty="0">
              <a:latin typeface="Segoe UI"/>
              <a:cs typeface="Segoe UI"/>
            </a:endParaRPr>
          </a:p>
          <a:p>
            <a:r>
              <a:rPr lang="en-US" sz="800" kern="1200" dirty="0">
                <a:solidFill>
                  <a:schemeClr val="tx1"/>
                </a:solidFill>
                <a:effectLst/>
                <a:latin typeface="Segoe UI" panose="020B0502040204020203" pitchFamily="34" charset="0"/>
                <a:ea typeface="+mn-ea"/>
                <a:cs typeface="+mn-cs"/>
              </a:rPr>
              <a:t>Now let’s double click on some of these workloads you can migrate to Azure, starting with Microsoft and Linux workloads</a:t>
            </a:r>
          </a:p>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09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e’re offering three unique value to our customers:</a:t>
            </a:r>
          </a:p>
          <a:p>
            <a:pPr marL="228600" indent="-228600">
              <a:buAutoNum type="arabicPeriod"/>
            </a:pPr>
            <a:r>
              <a:rPr lang="en-US" b="1"/>
              <a:t>Over 50% of the Azure VM Cores are running Linux, and we’re continuously investing more in the Linux and Open Source world to make sure that the experience of running the Linux-based workloads are seamless.</a:t>
            </a:r>
          </a:p>
          <a:p>
            <a:pPr marL="228600" indent="-228600">
              <a:buAutoNum type="arabicPeriod"/>
            </a:pPr>
            <a:r>
              <a:rPr lang="en-US" b="1"/>
              <a:t>Being a neutral technology provider, We have strong partnership with the Linux Distro publishers like Red Hat, SUSE and Canonical, to build co-developed applications, Azure Tuned Kernel and we jointly support our customers when they choose to run their Linux workloads on Azure, they can enjoy one ticket to solution experience.</a:t>
            </a:r>
          </a:p>
          <a:p>
            <a:pPr marL="228600" indent="-228600">
              <a:buAutoNum type="arabicPeriod"/>
            </a:pPr>
            <a:r>
              <a:rPr lang="en-US" b="1"/>
              <a:t>Top 100 Microsoft Customers using Azure are running their mission critical workloads in heterogeneous environment, and we’re also contributing back to the upstream Linux and Open Source community, to ensure the best experience pos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inux on Azure ACOM site: </a:t>
            </a:r>
            <a:r>
              <a:rPr lang="en-US" sz="1200">
                <a:hlinkClick r:id="rId3"/>
              </a:rPr>
              <a:t>https://azure.microsoft.com/en-us/overview/linux-on-azure/</a:t>
            </a:r>
            <a:r>
              <a:rPr lang="en-US" sz="1200"/>
              <a:t> </a:t>
            </a:r>
          </a:p>
          <a:p>
            <a:pPr marL="171450" indent="-171450">
              <a:buFont typeface="Arial" panose="020B0604020202020204" pitchFamily="34" charset="0"/>
              <a:buChar char="•"/>
            </a:pPr>
            <a:endParaRPr lang="en-US">
              <a:cs typeface="Calibri"/>
            </a:endParaRPr>
          </a:p>
          <a:p>
            <a:endParaRPr lang="en-US" b="1"/>
          </a:p>
          <a:p>
            <a:endParaRPr lang="en-US" b="1"/>
          </a:p>
          <a:p>
            <a:endParaRPr lang="en-US" b="1"/>
          </a:p>
          <a:p>
            <a:endParaRPr lang="en-US" b="1"/>
          </a:p>
          <a:p>
            <a:endParaRPr lang="en-US" b="1"/>
          </a:p>
          <a:p>
            <a:r>
              <a:rPr lang="en-US" b="1"/>
              <a:t>3 key messages </a:t>
            </a:r>
          </a:p>
          <a:p>
            <a:r>
              <a:rPr lang="en-US" b="1"/>
              <a:t>#1 majority of Azure customer workloads run on Linux</a:t>
            </a:r>
          </a:p>
          <a:p>
            <a:r>
              <a:rPr lang="en-US" b="1"/>
              <a:t>#2 Our key strength is in our </a:t>
            </a:r>
            <a:r>
              <a:rPr lang="en-US" b="1" err="1"/>
              <a:t>partnersships</a:t>
            </a:r>
            <a:endParaRPr lang="en-US" b="1"/>
          </a:p>
          <a:p>
            <a:pPr marL="171450" indent="-171450">
              <a:buFontTx/>
              <a:buChar char="-"/>
            </a:pPr>
            <a:r>
              <a:rPr lang="en-US" b="0"/>
              <a:t>AL2 competes directly with Red Hat</a:t>
            </a:r>
          </a:p>
          <a:p>
            <a:pPr marL="171450" indent="-171450">
              <a:buFontTx/>
              <a:buChar char="-"/>
            </a:pPr>
            <a:r>
              <a:rPr lang="en-US" b="0"/>
              <a:t>We partner closely with the top distro providers – for Red Hat and SUSE that means joint investments in support and product integration</a:t>
            </a:r>
          </a:p>
          <a:p>
            <a:pPr marL="171450" indent="-171450">
              <a:buFontTx/>
              <a:buChar char="-"/>
            </a:pPr>
            <a:r>
              <a:rPr lang="en-US" b="0"/>
              <a:t>It means Azure tuned kernels for optimal performance on the platform</a:t>
            </a:r>
          </a:p>
          <a:p>
            <a:pPr marL="171450" indent="-171450">
              <a:buFontTx/>
              <a:buChar char="-"/>
            </a:pPr>
            <a:r>
              <a:rPr lang="en-US" b="0"/>
              <a:t>Joint marketing, product development, lab development and training</a:t>
            </a:r>
          </a:p>
          <a:p>
            <a:pPr marL="171450" indent="-171450">
              <a:buFontTx/>
              <a:buChar char="-"/>
            </a:pPr>
            <a:r>
              <a:rPr lang="en-US" b="0"/>
              <a:t>We work very closely with SAP </a:t>
            </a:r>
          </a:p>
          <a:p>
            <a:pPr marL="0" indent="0">
              <a:buFontTx/>
              <a:buNone/>
            </a:pPr>
            <a:r>
              <a:rPr lang="en-US" b="0"/>
              <a:t>- We recently started partnering with Oracle</a:t>
            </a:r>
          </a:p>
          <a:p>
            <a:r>
              <a:rPr lang="en-US" b="1"/>
              <a:t>#3 top enterprise customers trust Linux on Azure with their workloads </a:t>
            </a:r>
          </a:p>
          <a:p>
            <a:endParaRPr lang="en-US" b="1"/>
          </a:p>
          <a:p>
            <a:endParaRPr lang="en-US" b="1"/>
          </a:p>
          <a:p>
            <a:pPr algn="l" rtl="0" fontAlgn="base"/>
            <a:r>
              <a:rPr lang="en-US" sz="1800" b="0" i="0" u="none" strike="noStrike">
                <a:solidFill>
                  <a:srgbClr val="000000"/>
                </a:solidFill>
                <a:effectLst/>
                <a:latin typeface="Calibri" panose="020F0502020204030204" pitchFamily="34" charset="0"/>
              </a:rPr>
              <a:t>Linux workloads are among the fastest growing workloads on Azure. In fact, more than 50% of Azure VM cores are running Linux. Top 100 Azure customers are running Linux on Azure.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Microsoft has been investing heavily in Linux and Open Source to ensure the best experience of running Linux workloads on Azure. We have strong partnership with the Linux Distro publishers like Red Hat, SUSE and Canonical, to build co-developed applications, Azure Tuned Kernel. We jointly support our customers when they choose to run their Linux workloads on Azure, so they can enjoy integrated support and timely resolution.</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Linux on Azure ACOM site: </a:t>
            </a:r>
            <a:r>
              <a:rPr lang="en-US" sz="1800" b="0" i="0" u="sng" strike="noStrike">
                <a:solidFill>
                  <a:srgbClr val="50E6FF"/>
                </a:solidFill>
                <a:effectLst/>
                <a:latin typeface="Calibri" panose="020F0502020204030204" pitchFamily="34" charset="0"/>
                <a:hlinkClick r:id="rId3"/>
              </a:rPr>
              <a:t>https://azure.microsoft.com/en-us/overview/linux-on-azure/</a:t>
            </a:r>
            <a:r>
              <a:rPr lang="en-US" sz="1800" b="0" i="0" u="none" strike="noStrike">
                <a:solidFill>
                  <a:srgbClr val="000000"/>
                </a:solidFill>
                <a:effectLst/>
                <a:latin typeface="Calibri" panose="020F0502020204030204" pitchFamily="34" charset="0"/>
              </a:rPr>
              <a:t>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endParaRPr lang="en-US" b="1"/>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5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dirty="0">
                <a:solidFill>
                  <a:srgbClr val="353535"/>
                </a:solidFill>
                <a:latin typeface="Segoe UI Semibold"/>
                <a:cs typeface="Segoe UI Semibold"/>
              </a:rPr>
              <a:t>Compatibility &amp; support</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Code parity: Same SQL Server Engine in both cloud and on-premises </a:t>
            </a:r>
            <a:endParaRPr lang="en-US" sz="900" dirty="0">
              <a:solidFill>
                <a:srgbClr val="353535"/>
              </a:solidFill>
              <a:latin typeface="Segoe UI Semibold" panose="020B0702040204020203" pitchFamily="34" charset="0"/>
              <a:cs typeface="Segoe UI Semibold" panose="020B0702040204020203" pitchFamily="34" charset="0"/>
            </a:endParaRPr>
          </a:p>
          <a:p>
            <a:pPr marL="171450" indent="-171450">
              <a:buFont typeface="Arial" panose="020B0604020202020204" pitchFamily="34" charset="0"/>
              <a:buChar char="•"/>
              <a:defRPr/>
            </a:pPr>
            <a:r>
              <a:rPr lang="en-US" sz="900" dirty="0">
                <a:solidFill>
                  <a:srgbClr val="353535"/>
                </a:solidFill>
                <a:latin typeface="Segoe UI Semibold"/>
                <a:cs typeface="Segoe UI Semibold"/>
              </a:rPr>
              <a:t>Lift and shift on-prem applications without making code changes</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99.99% SLA with backward compatibility through SQL Server 2005. (</a:t>
            </a:r>
            <a:r>
              <a:rPr lang="en-US" sz="850" dirty="0">
                <a:latin typeface="Segoe UI"/>
                <a:cs typeface="Segoe UI"/>
              </a:rPr>
              <a:t>AWS RDS offers 99.95% SLA with support through SQL Server 2008.)</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The only evergreen SQL service in the cloud: you'll never need to patch or upgrade ever again.</a:t>
            </a:r>
          </a:p>
          <a:p>
            <a:pPr marL="171450" indent="-171450">
              <a:buFont typeface="Arial" panose="020B0604020202020204" pitchFamily="34" charset="0"/>
              <a:buChar char="•"/>
              <a:defRPr/>
            </a:pPr>
            <a:r>
              <a:rPr lang="en-US" sz="900" dirty="0">
                <a:solidFill>
                  <a:srgbClr val="353535"/>
                </a:solidFill>
                <a:latin typeface="Segoe UI Semibold"/>
                <a:cs typeface="Segoe UI Semibold"/>
              </a:rPr>
              <a:t>Per Forrester TEI, a payback period of less than 6 months.</a:t>
            </a:r>
          </a:p>
          <a:p>
            <a:pPr>
              <a:defRPr/>
            </a:pPr>
            <a:endParaRPr lang="en-US" sz="900" dirty="0">
              <a:solidFill>
                <a:srgbClr val="353535"/>
              </a:solidFill>
              <a:latin typeface="Segoe UI Semibold"/>
              <a:cs typeface="Segoe UI Semibold"/>
            </a:endParaRPr>
          </a:p>
          <a:p>
            <a:pPr>
              <a:defRPr/>
            </a:pPr>
            <a:endParaRPr lang="en-US" sz="900" dirty="0">
              <a:solidFill>
                <a:srgbClr val="353535"/>
              </a:solidFill>
              <a:latin typeface="Segoe UI Semibold"/>
              <a:cs typeface="Segoe UI Semibold"/>
            </a:endParaRPr>
          </a:p>
          <a:p>
            <a:endParaRPr lang="en-US" dirty="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298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services within Azure SQL span both Infrastructure-as-a-Service and fully-managed Platform-as-a-Service and support a variety of scenario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QL Server on Azure Virtual Machines</a:t>
            </a:r>
          </a:p>
          <a:p>
            <a:r>
              <a:rPr lang="en-US" sz="1200" i="1" kern="1200">
                <a:solidFill>
                  <a:schemeClr val="tx1"/>
                </a:solidFill>
                <a:effectLst/>
                <a:latin typeface="+mn-lt"/>
                <a:ea typeface="+mn-ea"/>
                <a:cs typeface="+mn-cs"/>
              </a:rPr>
              <a:t>Lift-and-shift your SQL workloads with ease and maintain with 100% SQL Server compatibility and operating system-level acces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Managed Instance</a:t>
            </a:r>
          </a:p>
          <a:p>
            <a:r>
              <a:rPr lang="en-US" sz="1200" i="1" kern="1200">
                <a:solidFill>
                  <a:schemeClr val="tx1"/>
                </a:solidFill>
                <a:effectLst/>
                <a:latin typeface="+mn-lt"/>
                <a:ea typeface="+mn-ea"/>
                <a:cs typeface="+mn-cs"/>
              </a:rPr>
              <a:t>Modernize your existing SQL Server applications at scale with an intelligent fully managed servic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Database</a:t>
            </a:r>
          </a:p>
          <a:p>
            <a:r>
              <a:rPr lang="en-US" sz="1200" i="1" kern="1200">
                <a:solidFill>
                  <a:schemeClr val="tx1"/>
                </a:solidFill>
                <a:effectLst/>
                <a:latin typeface="+mn-lt"/>
                <a:ea typeface="+mn-ea"/>
                <a:cs typeface="+mn-cs"/>
              </a:rPr>
              <a:t>Support modern cloud applications on an intelligent, managed service that includes serverless compute</a:t>
            </a:r>
            <a:r>
              <a:rPr lang="en-US" sz="1200"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20858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se are the common migration projects and workloads we see customers migrating today. </a:t>
            </a:r>
          </a:p>
          <a:p>
            <a:pPr marL="171450" indent="-171450">
              <a:buFont typeface="Arial" panose="020B0604020202020204" pitchFamily="34" charset="0"/>
              <a:buChar char="•"/>
            </a:pPr>
            <a:r>
              <a:rPr lang="en-US"/>
              <a:t>Not all workloads are currently supported by AMP now, but we have plans to expand over time based on customer need. </a:t>
            </a:r>
          </a:p>
          <a:p>
            <a:pPr marL="171450" indent="-171450">
              <a:buFont typeface="Arial" panose="020B0604020202020204" pitchFamily="34" charset="0"/>
              <a:buChar char="•"/>
            </a:pPr>
            <a:r>
              <a:rPr lang="en-US"/>
              <a:t>A customer’s environment might also have multiple workloads so it’s important to understand the migratable estate in its entirety so you can have a conversation holisticall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6916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e have a rich mix of process, tooling, and program investments to hep customers navigate the journey and be successfu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AF is proven guidance with the stages you saw previous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zure Migrate is our unified tools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nd finally, we have programs such as AMP and FTA to help customers successfully migra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95200-4741-4646-AACF-D35442AE1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18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summary view of the migration journey – it has people, process and tech dimensions. </a:t>
            </a:r>
          </a:p>
          <a:p>
            <a:endParaRPr lang="en-US"/>
          </a:p>
          <a:p>
            <a:r>
              <a:rPr lang="en-US"/>
              <a:t>It starts with defining migration strategy, commissioning a </a:t>
            </a:r>
            <a:r>
              <a:rPr lang="en-US" err="1"/>
              <a:t>CoE</a:t>
            </a:r>
            <a:r>
              <a:rPr lang="en-US"/>
              <a:t>, &amp; building the migration plan. The plan includes a priority set of workloads to move, resources, &amp; concrete timelines. </a:t>
            </a:r>
          </a:p>
          <a:p>
            <a:endParaRPr lang="en-US"/>
          </a:p>
          <a:p>
            <a:r>
              <a:rPr lang="en-US"/>
              <a:t>And then we have an iterative process of building out the foundational infrastructure, executing workload migration in waves, and ongoing ops &amp; governance – i.e., living the cloud lifestyle.</a:t>
            </a:r>
          </a:p>
          <a:p>
            <a:endParaRPr lang="en-US"/>
          </a:p>
          <a:p>
            <a:r>
              <a:rPr lang="en-US"/>
              <a:t>&lt;Click&gt; </a:t>
            </a:r>
          </a:p>
          <a:p>
            <a:r>
              <a:rPr lang="en-US"/>
              <a:t>The pre-migration stage is heavy on people and process – stakeholder alignment is the most important success factor. </a:t>
            </a:r>
          </a:p>
          <a:p>
            <a:endParaRPr lang="en-US"/>
          </a:p>
          <a:p>
            <a:r>
              <a:rPr lang="en-US"/>
              <a:t>Ultimately, migration is a massive org change mgmt. exercise – influencing the customer to define a cloud </a:t>
            </a:r>
            <a:r>
              <a:rPr lang="en-US" err="1"/>
              <a:t>CoE</a:t>
            </a:r>
            <a:r>
              <a:rPr lang="en-US"/>
              <a:t>/ Tiger team can help maintain the focus and urgency.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Execute migrations in waves. </a:t>
            </a:r>
            <a:r>
              <a:rPr lang="en-US" sz="1800">
                <a:effectLst/>
                <a:latin typeface="Calibri" panose="020F0502020204030204" pitchFamily="34" charset="0"/>
                <a:ea typeface="Calibri" panose="020F0502020204030204" pitchFamily="34" charset="0"/>
                <a:cs typeface="Calibri" panose="020F0502020204030204" pitchFamily="34" charset="0"/>
              </a:rPr>
              <a:t>We recommend an iterative, wave-oriented approach to deeper technical assessments and migration. This means picking a manageable sized cohort of workloads/applications for each wave and using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3"/>
              </a:rPr>
              <a:t>automation</a:t>
            </a:r>
            <a:r>
              <a:rPr lang="en-US" sz="1800">
                <a:effectLst/>
                <a:latin typeface="Calibri" panose="020F0502020204030204" pitchFamily="34" charset="0"/>
                <a:ea typeface="Calibri" panose="020F0502020204030204" pitchFamily="34" charset="0"/>
                <a:cs typeface="Calibri" panose="020F0502020204030204" pitchFamily="34" charset="0"/>
              </a:rPr>
              <a:t> to move them over – in the </a:t>
            </a:r>
            <a:r>
              <a:rPr lang="en-US" sz="1800" u="sng">
                <a:solidFill>
                  <a:srgbClr val="0563C1"/>
                </a:solidFill>
                <a:effectLst/>
                <a:latin typeface="Calibri" panose="020F0502020204030204" pitchFamily="34" charset="0"/>
                <a:ea typeface="Calibri" panose="020F0502020204030204" pitchFamily="34" charset="0"/>
                <a:cs typeface="Calibri" panose="020F0502020204030204" pitchFamily="34" charset="0"/>
                <a:hlinkClick r:id="rId4"/>
              </a:rPr>
              <a:t>Azure Migration Program</a:t>
            </a:r>
            <a:r>
              <a:rPr lang="en-US" sz="1800">
                <a:effectLst/>
                <a:latin typeface="Calibri" panose="020F0502020204030204" pitchFamily="34" charset="0"/>
                <a:ea typeface="Calibri" panose="020F0502020204030204" pitchFamily="34" charset="0"/>
                <a:cs typeface="Calibri" panose="020F0502020204030204" pitchFamily="34" charset="0"/>
              </a:rPr>
              <a:t>, we’ve been running projects with 6-8 applications in a wave. This approach enables IT teams and partners work with application teams in a focused manner thereby increasing the chances of high-quality migration. Typical application owner concerns include rightsizing, comprehensive dependency mapping to ensure no component gets left behind, application &amp; database compatibility, adequate testing before cutover, and adherence to change management windows. This does imply taking a conservative approach during the initial migration waves, but I’ve seen several application owners accelerate subsequent waves as they begin to reap the agility and on-demand scale benefits of cloud. </a:t>
            </a:r>
            <a:endParaRPr lang="en-US" sz="18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592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0">
                <a:effectLst/>
                <a:latin typeface="Calibri" panose="020F0502020204030204" pitchFamily="34" charset="0"/>
                <a:ea typeface="Calibri" panose="020F0502020204030204" pitchFamily="34" charset="0"/>
              </a:rPr>
              <a:t>These are the top of mind concerns and challenges we are hearing from IT leader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85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Technical skill building</a:t>
            </a:r>
            <a:r>
              <a:rPr lang="en-US" sz="900" kern="1200">
                <a:solidFill>
                  <a:schemeClr val="tx1"/>
                </a:solidFill>
                <a:effectLst/>
                <a:latin typeface="Segoe UI Light" pitchFamily="34" charset="0"/>
                <a:ea typeface="+mn-ea"/>
                <a:cs typeface="+mn-cs"/>
              </a:rPr>
              <a:t> to ensure your organization can successfully adopt Azure</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astTrack for Azure engineering assistance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ree Azure tools like Azure Migrate </a:t>
            </a:r>
            <a:r>
              <a:rPr lang="en-US" sz="900" kern="1200">
                <a:solidFill>
                  <a:schemeClr val="tx1"/>
                </a:solidFill>
                <a:effectLst/>
                <a:latin typeface="Segoe UI Light" pitchFamily="34" charset="0"/>
                <a:ea typeface="+mn-ea"/>
                <a:cs typeface="+mn-cs"/>
              </a:rPr>
              <a:t>to help you efficiently execute migrations</a:t>
            </a:r>
            <a:r>
              <a:rPr lang="en-US" sz="9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nd cost effective offers</a:t>
            </a:r>
            <a:r>
              <a:rPr lang="en-US" sz="900" kern="1200">
                <a:solidFill>
                  <a:schemeClr val="tx1"/>
                </a:solidFill>
                <a:effectLst/>
                <a:latin typeface="Segoe UI Light" pitchFamily="34" charset="0"/>
                <a:ea typeface="+mn-ea"/>
                <a:cs typeface="+mn-cs"/>
              </a:rPr>
              <a:t> to help you save money before, during, and after migration </a:t>
            </a:r>
            <a:endParaRPr lang="en-US">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Discover, assess, and migrate on-premises applications, infrastructure, and data. Centrally plan and track the migration across multiple Microsoft and independent software vendor (ISV) tool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A comprehensive approach to migrating your application and datacenter estate. Supports key migration workloads like Windows Server, Linux, SQL and other Databases, data with Data Box, Web Applications, and Workstations (including Virtual Desktop Infrastructure). Holistic across VMware, Hyper-V, physical server, and cloud-to-cloud migration.</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028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great first step is to help customers understand their readiness to migrate. We have released a readiness heatmap tool to help customers do this by distilling our real life experience running migration engagements. The heatmaps help us identify the areas where customers need help.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BAD6CA-5BB6-47E3-B2E8-AE65FE8839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374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kern="1200" dirty="0">
                <a:solidFill>
                  <a:schemeClr val="tx1"/>
                </a:solidFill>
                <a:effectLst/>
                <a:latin typeface="Segoe UI Semilight" panose="020B0402040204020203" pitchFamily="34" charset="0"/>
                <a:ea typeface="+mn-ea"/>
                <a:cs typeface="+mn-cs"/>
              </a:rPr>
              <a:t>This map outlines the massive scale of Azur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b="0" i="0" kern="1200" dirty="0">
              <a:solidFill>
                <a:schemeClr val="tx1"/>
              </a:solidFill>
              <a:effectLst/>
              <a:latin typeface="Segoe UI Semilight" panose="020B040204020402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a:solidFill>
                  <a:schemeClr val="tx1"/>
                </a:solidFill>
                <a:effectLst/>
                <a:latin typeface="Segoe UI Semilight" panose="020B0402040204020203" pitchFamily="34" charset="0"/>
                <a:ea typeface="+mn-ea"/>
                <a:cs typeface="+mn-cs"/>
              </a:rPr>
              <a:t>Azure is available in 60 regions worldwide, more than any other cloud provi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kern="1200" dirty="0">
                <a:solidFill>
                  <a:schemeClr val="tx1"/>
                </a:solidFill>
                <a:effectLst/>
                <a:latin typeface="+mn-lt"/>
                <a:ea typeface="+mn-ea"/>
                <a:cs typeface="+mn-cs"/>
              </a:rPr>
              <a:t>We have one of the largest global networks, over 130,000 miles of fiber on land and sub-se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0" kern="1200" dirty="0">
                <a:solidFill>
                  <a:schemeClr val="tx1"/>
                </a:solidFill>
                <a:effectLst/>
                <a:latin typeface="+mn-lt"/>
                <a:ea typeface="+mn-ea"/>
                <a:cs typeface="+mn-cs"/>
              </a:rPr>
              <a:t>We have 160+ edge sites, pairing points, that allow customers to bring their networks and connect them to ours. Our list of regions and edge sites continues to expand. </a:t>
            </a:r>
            <a:endParaRPr lang="en-NZ" sz="900" i="0" kern="1200" dirty="0">
              <a:solidFill>
                <a:schemeClr val="tx1"/>
              </a:solidFill>
              <a:effectLst/>
              <a:latin typeface="Segoe UI Semilight" panose="020B0402040204020203" pitchFamily="34" charset="0"/>
              <a:ea typeface="+mn-ea"/>
              <a:cs typeface="+mn-cs"/>
            </a:endParaRPr>
          </a:p>
          <a:p>
            <a:pPr marL="171450" indent="-171450">
              <a:buFont typeface="Wingdings" panose="05000000000000000000" pitchFamily="2" charset="2"/>
              <a:buChar char="§"/>
            </a:pPr>
            <a:r>
              <a:rPr lang="en-US" sz="900" b="0" i="0" kern="1200" dirty="0">
                <a:solidFill>
                  <a:schemeClr val="tx1"/>
                </a:solidFill>
                <a:effectLst/>
                <a:latin typeface="Segoe UI Semilight" panose="020B0402040204020203" pitchFamily="34" charset="0"/>
                <a:ea typeface="+mn-ea"/>
                <a:cs typeface="+mn-cs"/>
              </a:rPr>
              <a:t>Data that traverses between Azure datacenters and regions remains in Microsoft’s network and </a:t>
            </a:r>
            <a:r>
              <a:rPr lang="en-US" sz="900" kern="1200" dirty="0">
                <a:solidFill>
                  <a:schemeClr val="tx1"/>
                </a:solidFill>
                <a:effectLst/>
                <a:latin typeface="Segoe UI Semilight" panose="020B0402040204020203" pitchFamily="34" charset="0"/>
                <a:ea typeface="+mn-ea"/>
                <a:cs typeface="+mn-cs"/>
              </a:rPr>
              <a:t>does not flow over the public Internet</a:t>
            </a:r>
            <a:r>
              <a:rPr lang="en-US" sz="900" b="0" i="0" kern="1200" dirty="0">
                <a:solidFill>
                  <a:schemeClr val="tx1"/>
                </a:solidFill>
                <a:effectLst/>
                <a:latin typeface="Segoe UI Semilight" panose="020B0402040204020203" pitchFamily="34" charset="0"/>
                <a:ea typeface="+mn-ea"/>
                <a:cs typeface="+mn-cs"/>
              </a:rPr>
              <a:t>. </a:t>
            </a:r>
            <a:r>
              <a:rPr lang="en-US" sz="1200" kern="1200" dirty="0">
                <a:solidFill>
                  <a:schemeClr val="tx1"/>
                </a:solidFill>
                <a:effectLst/>
                <a:latin typeface="Segoe UI Semilight" panose="020B0402040204020203" pitchFamily="34" charset="0"/>
                <a:ea typeface="+mn-ea"/>
                <a:cs typeface="+mn-cs"/>
              </a:rPr>
              <a:t>This includes all traffic between Microsoft services anywhere in the world.</a:t>
            </a:r>
          </a:p>
          <a:p>
            <a:pPr marL="628650" lvl="1" indent="-171450">
              <a:buFont typeface="Wingdings" panose="05000000000000000000" pitchFamily="2" charset="2"/>
              <a:buChar char="§"/>
            </a:pPr>
            <a:r>
              <a:rPr lang="en-US" sz="1200" kern="1200" dirty="0">
                <a:solidFill>
                  <a:schemeClr val="tx1"/>
                </a:solidFill>
                <a:effectLst/>
                <a:latin typeface="Segoe UI Semilight" panose="020B0402040204020203" pitchFamily="34" charset="0"/>
                <a:ea typeface="+mn-ea"/>
                <a:cs typeface="+mn-cs"/>
              </a:rPr>
              <a:t>For example, within Azure, traffic between virtual machines, storage, and SQL communication traverses only the Microsoft network, regardless of the source and destination region. Intra-region </a:t>
            </a:r>
            <a:r>
              <a:rPr lang="en-US" sz="1200" kern="1200" dirty="0" err="1">
                <a:solidFill>
                  <a:schemeClr val="tx1"/>
                </a:solidFill>
                <a:effectLst/>
                <a:latin typeface="Segoe UI Semilight" panose="020B0402040204020203" pitchFamily="34" charset="0"/>
                <a:ea typeface="+mn-ea"/>
                <a:cs typeface="+mn-cs"/>
              </a:rPr>
              <a:t>VNet</a:t>
            </a:r>
            <a:r>
              <a:rPr lang="en-US" sz="1200" kern="1200" dirty="0">
                <a:solidFill>
                  <a:schemeClr val="tx1"/>
                </a:solidFill>
                <a:effectLst/>
                <a:latin typeface="Segoe UI Semilight" panose="020B0402040204020203" pitchFamily="34" charset="0"/>
                <a:ea typeface="+mn-ea"/>
                <a:cs typeface="+mn-cs"/>
              </a:rPr>
              <a:t>-to-</a:t>
            </a:r>
            <a:r>
              <a:rPr lang="en-US" sz="1200" kern="1200" dirty="0" err="1">
                <a:solidFill>
                  <a:schemeClr val="tx1"/>
                </a:solidFill>
                <a:effectLst/>
                <a:latin typeface="Segoe UI Semilight" panose="020B0402040204020203" pitchFamily="34" charset="0"/>
                <a:ea typeface="+mn-ea"/>
                <a:cs typeface="+mn-cs"/>
              </a:rPr>
              <a:t>VNet</a:t>
            </a:r>
            <a:r>
              <a:rPr lang="en-US" sz="1200" kern="1200" dirty="0">
                <a:solidFill>
                  <a:schemeClr val="tx1"/>
                </a:solidFill>
                <a:effectLst/>
                <a:latin typeface="Segoe UI Semilight" panose="020B0402040204020203" pitchFamily="34" charset="0"/>
                <a:ea typeface="+mn-ea"/>
                <a:cs typeface="+mn-cs"/>
              </a:rPr>
              <a:t> traffic, as well as cross-region </a:t>
            </a:r>
            <a:r>
              <a:rPr lang="en-US" sz="1200" kern="1200" dirty="0" err="1">
                <a:solidFill>
                  <a:schemeClr val="tx1"/>
                </a:solidFill>
                <a:effectLst/>
                <a:latin typeface="Segoe UI Semilight" panose="020B0402040204020203" pitchFamily="34" charset="0"/>
                <a:ea typeface="+mn-ea"/>
                <a:cs typeface="+mn-cs"/>
              </a:rPr>
              <a:t>VNet</a:t>
            </a:r>
            <a:r>
              <a:rPr lang="en-US" sz="1200" kern="1200" dirty="0">
                <a:solidFill>
                  <a:schemeClr val="tx1"/>
                </a:solidFill>
                <a:effectLst/>
                <a:latin typeface="Segoe UI Semilight" panose="020B0402040204020203" pitchFamily="34" charset="0"/>
                <a:ea typeface="+mn-ea"/>
                <a:cs typeface="+mn-cs"/>
              </a:rPr>
              <a:t>-to-</a:t>
            </a:r>
            <a:r>
              <a:rPr lang="en-US" sz="1200" kern="1200" dirty="0" err="1">
                <a:solidFill>
                  <a:schemeClr val="tx1"/>
                </a:solidFill>
                <a:effectLst/>
                <a:latin typeface="Segoe UI Semilight" panose="020B0402040204020203" pitchFamily="34" charset="0"/>
                <a:ea typeface="+mn-ea"/>
                <a:cs typeface="+mn-cs"/>
              </a:rPr>
              <a:t>VNet</a:t>
            </a:r>
            <a:r>
              <a:rPr lang="en-US" sz="1200" kern="1200" dirty="0">
                <a:solidFill>
                  <a:schemeClr val="tx1"/>
                </a:solidFill>
                <a:effectLst/>
                <a:latin typeface="Segoe UI Semilight" panose="020B0402040204020203" pitchFamily="34" charset="0"/>
                <a:ea typeface="+mn-ea"/>
                <a:cs typeface="+mn-cs"/>
              </a:rPr>
              <a:t> traffic, stays on the Microsoft network.</a:t>
            </a:r>
          </a:p>
          <a:p>
            <a:pPr marL="628650" lvl="1" indent="-171450">
              <a:buFont typeface="Wingdings" panose="05000000000000000000" pitchFamily="2" charset="2"/>
              <a:buChar char="§"/>
            </a:pPr>
            <a:endParaRPr lang="en-NZ" sz="1200" i="1" kern="1200" dirty="0">
              <a:solidFill>
                <a:schemeClr val="tx1"/>
              </a:solidFill>
              <a:effectLst/>
              <a:latin typeface="Segoe UI Semilight" panose="020B0402040204020203" pitchFamily="34" charset="0"/>
              <a:ea typeface="+mn-ea"/>
              <a:cs typeface="+mn-cs"/>
            </a:endParaRPr>
          </a:p>
          <a:p>
            <a:pPr marL="0" indent="0">
              <a:buFont typeface="Wingdings" panose="05000000000000000000" pitchFamily="2" charset="2"/>
              <a:buNone/>
            </a:pPr>
            <a:r>
              <a:rPr lang="en-US" sz="1200" b="1" u="sng" kern="1200" dirty="0">
                <a:solidFill>
                  <a:schemeClr val="tx1"/>
                </a:solidFill>
                <a:effectLst/>
                <a:latin typeface="Segoe UI Semilight" panose="020B0402040204020203" pitchFamily="34" charset="0"/>
                <a:ea typeface="+mn-ea"/>
                <a:cs typeface="+mn-cs"/>
              </a:rPr>
              <a:t>Additional notes for speaker background</a:t>
            </a:r>
          </a:p>
          <a:p>
            <a:pPr marL="171450" indent="-171450">
              <a:buFont typeface="Wingdings" panose="05000000000000000000" pitchFamily="2" charset="2"/>
              <a:buChar char="§"/>
            </a:pPr>
            <a:r>
              <a:rPr lang="en-US" sz="1200" kern="1200" dirty="0">
                <a:solidFill>
                  <a:schemeClr val="tx1"/>
                </a:solidFill>
                <a:effectLst/>
                <a:latin typeface="Segoe UI Semilight" panose="020B0402040204020203" pitchFamily="34" charset="0"/>
                <a:ea typeface="+mn-ea"/>
                <a:cs typeface="+mn-cs"/>
              </a:rPr>
              <a:t>The reliability and performance of cloud services is determined in part by the network and (in addition to having more datacenter regions than any of our competitors) Microsoft’s network is also one of the largest in the world.</a:t>
            </a:r>
          </a:p>
          <a:p>
            <a:pPr marL="171450" indent="-171450">
              <a:buFont typeface="Wingdings" panose="05000000000000000000" pitchFamily="2" charset="2"/>
              <a:buChar char="§"/>
            </a:pPr>
            <a:r>
              <a:rPr lang="en-US" sz="1200" kern="1200" dirty="0">
                <a:solidFill>
                  <a:schemeClr val="tx1"/>
                </a:solidFill>
                <a:effectLst/>
                <a:latin typeface="Segoe UI Semilight" panose="020B0402040204020203" pitchFamily="34" charset="0"/>
                <a:ea typeface="+mn-ea"/>
                <a:cs typeface="+mn-cs"/>
              </a:rPr>
              <a:t>The Microsoft global wide-area network (WAN) plays an important part in delivering a great cloud service experience – offering near-perfect availability, high capacity, and the flexibility to respond to unpredictable demand spike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650BD0-6A65-4521-BA25-5D3155EF04D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132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al life migrations can be complex and messy to navigate. </a:t>
            </a:r>
          </a:p>
          <a:p>
            <a:endParaRPr lang="en-US"/>
          </a:p>
          <a:p>
            <a:r>
              <a:rPr lang="en-US"/>
              <a:t>This is from our FTA team which has been working with many </a:t>
            </a:r>
            <a:r>
              <a:rPr lang="en-US" err="1"/>
              <a:t>many</a:t>
            </a:r>
            <a:r>
              <a:rPr lang="en-US"/>
              <a:t> custome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0211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0BFD3E-08BC-49E8-8BB5-714EC69F61E0}" type="slidenum">
              <a:rPr lang="en-US" smtClean="0">
                <a:solidFill>
                  <a:prstClr val="black"/>
                </a:solidFill>
              </a:rPr>
              <a:pPr>
                <a:defRPr/>
              </a:pPr>
              <a:t>31</a:t>
            </a:fld>
            <a:endParaRPr lang="en-US">
              <a:solidFill>
                <a:prstClr val="black"/>
              </a:solidFill>
            </a:endParaRPr>
          </a:p>
        </p:txBody>
      </p:sp>
    </p:spTree>
    <p:extLst>
      <p:ext uri="{BB962C8B-B14F-4D97-AF65-F5344CB8AC3E}">
        <p14:creationId xmlns:p14="http://schemas.microsoft.com/office/powerpoint/2010/main" val="1992339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These are the typical triggers that are making customers look at cloud migration during these challenging times. </a:t>
            </a:r>
          </a:p>
          <a:p>
            <a:endParaRPr lang="en-US" b="0"/>
          </a:p>
          <a:p>
            <a:r>
              <a:rPr lang="en-US" b="0"/>
              <a:t>Common ones include:</a:t>
            </a:r>
          </a:p>
          <a:p>
            <a:pPr marL="171450" indent="-171450">
              <a:buFont typeface="Arial" panose="020B0604020202020204" pitchFamily="34" charset="0"/>
              <a:buChar char="•"/>
            </a:pPr>
            <a:r>
              <a:rPr lang="en-US" b="1"/>
              <a:t>Cash flow challenges </a:t>
            </a:r>
            <a:r>
              <a:rPr lang="en-US" b="0"/>
              <a:t>– This includes cash flow challenges not just for our customers, but also their entire ecosystem (e.g., suppliers, distributors, end customers). </a:t>
            </a:r>
          </a:p>
          <a:p>
            <a:pPr marL="171450" indent="-171450">
              <a:buFont typeface="Arial" panose="020B0604020202020204" pitchFamily="34" charset="0"/>
              <a:buChar char="•"/>
            </a:pPr>
            <a:r>
              <a:rPr lang="en-US" b="1"/>
              <a:t>Cybersecurity threats</a:t>
            </a:r>
            <a:r>
              <a:rPr lang="en-US" b="0"/>
              <a:t> – Customers are feeling more vulnerable to attackers, their defenses are down </a:t>
            </a:r>
          </a:p>
          <a:p>
            <a:pPr marL="171450" indent="-171450">
              <a:buFont typeface="Arial" panose="020B0604020202020204" pitchFamily="34" charset="0"/>
              <a:buChar char="•"/>
            </a:pPr>
            <a:r>
              <a:rPr lang="en-US" b="1"/>
              <a:t>Scarce IT budgets/resources </a:t>
            </a:r>
            <a:r>
              <a:rPr lang="en-US" b="0"/>
              <a:t>– Customers are reporting the need to free up IT $s to invest into other parts of the business that may need it more </a:t>
            </a:r>
          </a:p>
          <a:p>
            <a:pPr marL="171450" indent="-171450">
              <a:buFont typeface="Arial" panose="020B0604020202020204" pitchFamily="34" charset="0"/>
              <a:buChar char="•"/>
            </a:pPr>
            <a:r>
              <a:rPr lang="en-US" b="1"/>
              <a:t>Ability to meet surge demand </a:t>
            </a:r>
            <a:r>
              <a:rPr lang="en-US" b="0"/>
              <a:t>– Several industries such as healthcare, retail are seeing a surge in demand. They are finding that their existing systems and solutions just can’t keep up. </a:t>
            </a:r>
          </a:p>
          <a:p>
            <a:pPr marL="171450" indent="-171450">
              <a:buFont typeface="Arial" panose="020B0604020202020204" pitchFamily="34" charset="0"/>
              <a:buChar char="•"/>
            </a:pPr>
            <a:r>
              <a:rPr lang="en-US" b="1"/>
              <a:t>Business continuity </a:t>
            </a:r>
            <a:r>
              <a:rPr lang="en-US" b="0"/>
              <a:t>– Customers have real concerns about their day to day operations being interrupted (e.g., network connectivity, data loss)</a:t>
            </a:r>
          </a:p>
          <a:p>
            <a:pPr marL="171450" indent="-171450">
              <a:buFont typeface="Arial" panose="020B0604020202020204" pitchFamily="34" charset="0"/>
              <a:buChar char="•"/>
            </a:pPr>
            <a:r>
              <a:rPr lang="en-US" b="1"/>
              <a:t>Datacenter contract expiry </a:t>
            </a:r>
            <a:r>
              <a:rPr lang="en-US" b="0"/>
              <a:t>– Many customers we speak to are viewing contract expiry as an inflection point to consider cloud migrations (“is it worth running my own given resource/cash flow challenges”?)</a:t>
            </a:r>
          </a:p>
          <a:p>
            <a:endParaRPr lang="en-US" b="0"/>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62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Moving to the cloud has clear economic benefit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Convert upfront capital expenditures into operating expenditures and pay as you consume.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Security is now a reason to migrate to the cloud – customers see that cloud providers can help them improve their security posture (critical during times of vulnerability).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The cloud scales up and down to meet demand as you need, so you don’t need to over-provision resources to be ready for peak usage and incur expenses on idle server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Arial" panose="020B0604020202020204" pitchFamily="34" charset="0"/>
              </a:rPr>
              <a:t>- Best of all, the cloud improves operational productivity for your staff, so they can focus on priority business initiative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CE064-7369-417B-A65C-55689CDB12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829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800" b="0" i="0" dirty="0">
                <a:solidFill>
                  <a:srgbClr val="000000"/>
                </a:solidFill>
                <a:effectLst/>
                <a:latin typeface="Segoe UI" panose="020B0502040204020203" pitchFamily="34" charset="0"/>
              </a:rPr>
              <a:t>Azure offers a comprehensive mix of technology, best practice guidance, programs, offers, and tools to migrate your entire datacenter to the cloud. Migrate with confidence and optimize your costs with our on-demand global infrastructure with the most regions of any cloud vendor. </a:t>
            </a:r>
          </a:p>
          <a:p>
            <a:pPr rtl="0" fontAlgn="base"/>
            <a:endParaRPr lang="en-US" sz="1800" b="0" i="0" dirty="0">
              <a:solidFill>
                <a:srgbClr val="000000"/>
              </a:solidFill>
              <a:effectLst/>
              <a:latin typeface="Segoe UI" panose="020B0502040204020203" pitchFamily="34" charset="0"/>
            </a:endParaRPr>
          </a:p>
          <a:p>
            <a:pPr rtl="0" fontAlgn="base"/>
            <a:r>
              <a:rPr lang="en-US" sz="1800" b="0" i="0" dirty="0">
                <a:solidFill>
                  <a:srgbClr val="000000"/>
                </a:solidFill>
                <a:effectLst/>
                <a:latin typeface="Segoe UI" panose="020B0502040204020203" pitchFamily="34" charset="0"/>
              </a:rPr>
              <a:t>Azure is the best cloud destination for your servers, applications, and databases. Our cost saving offers and capabilities are hybrid by design, knowing that you will likely operate that way for the foreseeable future. With Azure, you can be confident that you are running your Windows and SQL workloads at the lowest total cost of ownership versus competitors. Migrate your proprietary or open source databases, modernize your applications, and optimize your costs in the process. In addition to delivering a competitive total cost of ownership (TCO), customers can secure their workloads with industry leading intelligence and built-in security controls. Your business is no longer hostage to the capacity of your data center, and customers can scale their applications on demand to meet the business demands of tomorrow, without having to worry about infrastructure management. </a:t>
            </a:r>
          </a:p>
          <a:p>
            <a:pPr rtl="0" fontAlgn="base"/>
            <a:endParaRPr lang="en-US" sz="1800" b="0" i="0" u="none" strike="noStrike" kern="1200" dirty="0">
              <a:solidFill>
                <a:srgbClr val="000000"/>
              </a:solidFill>
              <a:effectLst/>
              <a:latin typeface="Segoe UI" panose="020B0502040204020203" pitchFamily="34" charset="0"/>
              <a:ea typeface="+mn-ea"/>
              <a:cs typeface="+mn-cs"/>
            </a:endParaRPr>
          </a:p>
          <a:p>
            <a:pPr algn="l" rtl="0" fontAlgn="base"/>
            <a:r>
              <a:rPr lang="en-US" sz="1800" b="0" i="0" dirty="0">
                <a:solidFill>
                  <a:srgbClr val="000000"/>
                </a:solidFill>
                <a:effectLst/>
                <a:latin typeface="Segoe UI" panose="020B0502040204020203" pitchFamily="34" charset="0"/>
              </a:rPr>
              <a:t>Microsoft Azure is investing in areas to help you weather the crisis and set you up for resilience in the long term.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Optimize costs and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Save money and realize operational efficiencies with hybrid offers on Windows Server and SQL Server, comprehensive datacenter migration programs, and optimized infrastructure. Whether it’s Microsoft workloads like Windows Server or SQL Server, or Linux or open source databases, you can leverage curated guidance and best practices to migrate with confidence.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Lower migration costs and risk with best practice guidance &amp; resources [AMP | FTA | CAF]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Gain substantial savings on WS &amp; SQL, AWS is 5x more expensive [Azure Hybrid Benefit, free ESUs, superior SQL Server price-performan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tay optimized with free migration and cost management tools + offers [Azure Migrate, Azure Billing &amp; Cost Management, Azure Advisor, Reserved Instances, Spot VMs] </a:t>
            </a: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Segoe UI" panose="020B0502040204020203" pitchFamily="34" charset="0"/>
              </a:rPr>
              <a:t>Unmatched security, built-in resiliency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Take advantage of multi-layered hybrid security in Azure. Rely on a cloud that is built with customized hardware, has security controls integrated into the hardware and firmware components, and added protections against threats such as DDo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3500 security experts, $1B/</a:t>
            </a:r>
            <a:r>
              <a:rPr lang="en-US" sz="1800" b="0" i="0" dirty="0" err="1">
                <a:solidFill>
                  <a:srgbClr val="000000"/>
                </a:solidFill>
                <a:effectLst/>
                <a:latin typeface="Segoe UI" panose="020B0502040204020203" pitchFamily="34" charset="0"/>
              </a:rPr>
              <a:t>yr</a:t>
            </a:r>
            <a:r>
              <a:rPr lang="en-US" sz="1800" b="0" i="0" dirty="0">
                <a:solidFill>
                  <a:srgbClr val="000000"/>
                </a:solidFill>
                <a:effectLst/>
                <a:latin typeface="Segoe UI" panose="020B0502040204020203" pitchFamily="34" charset="0"/>
              </a:rPr>
              <a:t> investmen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nsure maximum resilience with built-in HA/DR [AZs, DC pairing, ASR/Azure Backup]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Secure your org from threats with cloud-native SIEM that can be accessed from anywhere [Azure Sentinel]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Protect your cloud workloads with context from &gt;8T threat signals processed per day [Azure Security Center] </a:t>
            </a:r>
          </a:p>
          <a:p>
            <a:pPr algn="l" rtl="0" fontAlgn="base"/>
            <a:r>
              <a:rPr lang="en-US" sz="1800" b="1" i="0" dirty="0">
                <a:solidFill>
                  <a:srgbClr val="000000"/>
                </a:solidFill>
                <a:effectLst/>
                <a:latin typeface="Segoe UI" panose="020B0502040204020203" pitchFamily="34" charset="0"/>
              </a:rPr>
              <a:t>On-demand scale and ops efficiencies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Use the cloud to scale your web applications and meet business demands of today and tomorrow. Leave the operational work to us so you can stay focused on what matters. Future proof your business with on-demand scale, always up to date databases, and innovative managed services that are always on. </a:t>
            </a:r>
            <a:endParaRPr lang="en-US" sz="2800"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Segoe UI" panose="020B0502040204020203" pitchFamily="34" charset="0"/>
              </a:rPr>
              <a:t>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ore DC regions than any other cloud provider [58 region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Flexible, best-in-class infrastructure for any workload [Azure IaaS, &gt;150 VM sizes]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Use built-in autoscaling for your web sites to seamlessly fulfill customer demand [Azure App Service]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Drive operational efficiencies with a fully managed web and database platform [Azure App Service, Azure SQL] </a:t>
            </a:r>
          </a:p>
          <a:p>
            <a:pPr algn="l" rtl="0" fontAlgn="base"/>
            <a:r>
              <a:rPr lang="en-US" sz="1800" b="1" i="0" dirty="0">
                <a:solidFill>
                  <a:srgbClr val="000000"/>
                </a:solidFill>
                <a:effectLst/>
                <a:latin typeface="Segoe UI" panose="020B0502040204020203" pitchFamily="34" charset="0"/>
              </a:rPr>
              <a:t>Hybrid flexibility and efficiency </a:t>
            </a:r>
            <a:endParaRPr lang="en-US" sz="2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xtend Azure management to any infrastructure for efficiencies [Azure Arc]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Reuse your on-premises investments in the cloud [Azure Hybrid Benefit]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Efficiently manage Windows Server wherever it resides [Windows Admin Center] </a:t>
            </a:r>
          </a:p>
          <a:p>
            <a:pPr algn="l" rtl="0" fontAlgn="base">
              <a:buFont typeface="Arial" panose="020B0604020202020204" pitchFamily="34" charset="0"/>
              <a:buChar char="•"/>
            </a:pPr>
            <a:r>
              <a:rPr lang="en-US" sz="1800" b="0" i="0" dirty="0">
                <a:solidFill>
                  <a:srgbClr val="000000"/>
                </a:solidFill>
                <a:effectLst/>
                <a:latin typeface="Segoe UI" panose="020B0502040204020203" pitchFamily="34" charset="0"/>
              </a:rPr>
              <a:t>Max SQL compatibility and ops consistency [Azure SQL] </a:t>
            </a:r>
          </a:p>
          <a:p>
            <a:pPr rtl="0" fontAlgn="base"/>
            <a:endParaRPr lang="en-US"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42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Cloud cost optimization is always important, and now more than ever. During this challenging time, companies and organizations around the world are facing difficult decisions about how to meet their funding needs for critical IT projects. </a:t>
            </a:r>
          </a:p>
          <a:p>
            <a:endParaRPr lang="en-US" sz="1200">
              <a:effectLst/>
              <a:latin typeface="+mn-lt"/>
              <a:ea typeface="+mn-ea"/>
              <a:cs typeface="+mn-cs"/>
            </a:endParaRPr>
          </a:p>
          <a:p>
            <a:r>
              <a:rPr lang="en-US" sz="1200">
                <a:effectLst/>
                <a:latin typeface="Calibri" panose="020F0502020204030204" pitchFamily="34" charset="0"/>
                <a:cs typeface="Times New Roman" panose="02020603050405020304" pitchFamily="18" charset="0"/>
              </a:rPr>
              <a:t>You can also forecast costs for future investments with the Azure TCO calculator.</a:t>
            </a:r>
          </a:p>
          <a:p>
            <a:endParaRPr lang="en-US" sz="1200">
              <a:effectLst/>
              <a:latin typeface="Calibri" panose="020F0502020204030204" pitchFamily="34" charset="0"/>
              <a:cs typeface="Times New Roman" panose="02020603050405020304" pitchFamily="18" charset="0"/>
            </a:endParaRPr>
          </a:p>
          <a:p>
            <a:r>
              <a:rPr lang="en-US" sz="1200">
                <a:effectLst/>
                <a:latin typeface="Calibri" panose="020F0502020204030204" pitchFamily="34" charset="0"/>
                <a:cs typeface="Times New Roman" panose="02020603050405020304" pitchFamily="18" charset="0"/>
              </a:rPr>
              <a:t>You can use assessment guidance from Azure Migrate to </a:t>
            </a:r>
            <a:r>
              <a:rPr lang="en-US" sz="1200" err="1">
                <a:effectLst/>
                <a:latin typeface="Calibri" panose="020F0502020204030204" pitchFamily="34" charset="0"/>
                <a:cs typeface="Times New Roman" panose="02020603050405020304" pitchFamily="18" charset="0"/>
              </a:rPr>
              <a:t>rightsize</a:t>
            </a:r>
            <a:r>
              <a:rPr lang="en-US" sz="1200">
                <a:effectLst/>
                <a:latin typeface="Calibri" panose="020F0502020204030204" pitchFamily="34" charset="0"/>
                <a:cs typeface="Times New Roman" panose="02020603050405020304" pitchFamily="18" charset="0"/>
              </a:rPr>
              <a:t> your on-premises resources as you move them. </a:t>
            </a:r>
          </a:p>
          <a:p>
            <a:endParaRPr lang="en-US" sz="1800">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cs typeface="Times New Roman" panose="02020603050405020304" pitchFamily="18" charset="0"/>
              </a:rPr>
              <a:t>To cost optimize your workloads, you can use services like Azure Advisor to find actionable best practice recommendations for cost savings. The Microsoft Azure Well-Architected Framework provides guidance on how to design and architect your workloads for cost efficiency. We also have many offers like the Azure Hybrid Benefit and Azure Reservations that can help you save.</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To understand and forecast your costs, you’ll rely on Azure Cost Management, where you can monitor your bill, set budgets, and allocate spending to your teams and projects. </a:t>
            </a:r>
          </a:p>
          <a:p>
            <a:endParaRPr lang="en-US" sz="1800">
              <a:effectLst/>
              <a:latin typeface="Calibri" panose="020F0502020204030204" pitchFamily="34" charset="0"/>
              <a:cs typeface="Times New Roman" panose="02020603050405020304" pitchFamily="18" charset="0"/>
            </a:endParaRPr>
          </a:p>
          <a:p>
            <a:r>
              <a:rPr lang="en-US" sz="1800">
                <a:effectLst/>
                <a:latin typeface="Calibri" panose="020F0502020204030204" pitchFamily="34" charset="0"/>
                <a:cs typeface="Times New Roman" panose="02020603050405020304" pitchFamily="18" charset="0"/>
              </a:rPr>
              <a:t>Finally, to control your costs, you can put in place policies that ensure your teams will comply with your guidance using Azure Policy. For help on setting policies, you can turn to the Microsoft Cloud Adoption Framework for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3164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r>
              <a:rPr lang="en-US" sz="900" b="1" kern="1200" dirty="0">
                <a:solidFill>
                  <a:schemeClr val="tx1"/>
                </a:solidFill>
                <a:effectLst/>
                <a:latin typeface="Segoe UI Light" pitchFamily="34" charset="0"/>
                <a:ea typeface="+mn-ea"/>
                <a:cs typeface="+mn-cs"/>
              </a:rPr>
              <a:t>Pay less. </a:t>
            </a:r>
            <a:r>
              <a:rPr lang="en-US" sz="900" kern="1200" dirty="0">
                <a:solidFill>
                  <a:schemeClr val="tx1"/>
                </a:solidFill>
                <a:effectLst/>
                <a:latin typeface="Segoe UI Light" pitchFamily="34" charset="0"/>
                <a:ea typeface="+mn-ea"/>
                <a:cs typeface="+mn-cs"/>
              </a:rPr>
              <a:t>AWS is 5X more expensive than Azure for Windows Server and SQL Server. Unique offers like Azure Hybrid Benefit and Free Extended Security Updates makes this possible. </a:t>
            </a:r>
            <a:endParaRPr lang="en-US"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358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Furthermore, a price-performance benchmark study conducted by </a:t>
            </a:r>
            <a:r>
              <a:rPr lang="en-US" sz="882" b="0" i="0" u="none" strike="noStrike" kern="1200" dirty="0" err="1">
                <a:solidFill>
                  <a:schemeClr val="tx1"/>
                </a:solidFill>
                <a:effectLst/>
                <a:latin typeface="Segoe UI" panose="020B0502040204020203" pitchFamily="34" charset="0"/>
                <a:ea typeface="+mn-ea"/>
                <a:cs typeface="+mn-cs"/>
              </a:rPr>
              <a:t>GigaOm</a:t>
            </a:r>
            <a:r>
              <a:rPr lang="en-US" sz="882" b="0" i="0" u="none" strike="noStrike" kern="1200" dirty="0">
                <a:solidFill>
                  <a:schemeClr val="tx1"/>
                </a:solidFill>
                <a:effectLst/>
                <a:latin typeface="Segoe UI" panose="020B0502040204020203" pitchFamily="34" charset="0"/>
                <a:ea typeface="+mn-ea"/>
                <a:cs typeface="+mn-cs"/>
              </a:rPr>
              <a:t> shows that SQL IaaS achieves nearly 4 times faster performance and up to 84% lower price per transaction on Azure than on AWS. The performance profiling exercise was done running SQL Server on Azure and AWS EC2, using the latest AMD-based VMs on both cloud platforms. </a:t>
            </a:r>
          </a:p>
          <a:p>
            <a:pPr marL="0" marR="0" lvl="0" indent="0" algn="l" defTabSz="914367" rtl="0" eaLnBrk="1" fontAlgn="auto" latinLnBrk="0" hangingPunct="1">
              <a:lnSpc>
                <a:spcPct val="90000"/>
              </a:lnSpc>
              <a:spcBef>
                <a:spcPts val="0"/>
              </a:spcBef>
              <a:spcAft>
                <a:spcPts val="1200"/>
              </a:spcAft>
              <a:buClrTx/>
              <a:buSzTx/>
              <a:buFontTx/>
              <a:buNone/>
              <a:tabLst/>
              <a:defRPr/>
            </a:pPr>
            <a:endParaRPr lang="en-US" sz="882" b="0" i="0" u="none" strike="noStrike" kern="1200" dirty="0">
              <a:solidFill>
                <a:schemeClr val="tx1"/>
              </a:solidFill>
              <a:effectLst/>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0"/>
              </a:spcBef>
              <a:spcAft>
                <a:spcPts val="1200"/>
              </a:spcAft>
              <a:buClrTx/>
              <a:buSzTx/>
              <a:buFontTx/>
              <a:buNone/>
              <a:tabLst/>
              <a:defRPr/>
            </a:pPr>
            <a:r>
              <a:rPr lang="en-US" sz="882" b="0" i="0" u="none" strike="noStrike" kern="1200" dirty="0">
                <a:solidFill>
                  <a:schemeClr val="tx1"/>
                </a:solidFill>
                <a:effectLst/>
                <a:latin typeface="Segoe UI" panose="020B0502040204020203" pitchFamily="34" charset="0"/>
                <a:ea typeface="+mn-ea"/>
                <a:cs typeface="+mn-cs"/>
              </a:rPr>
              <a:t>The great performance and cheaper cost of SQL IaaS on Azure were a result of the great price/performance of Azure VMs and our unique Azure Hybrid Benefit.</a:t>
            </a: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endParaRPr lang="en-US" sz="882" b="0" i="0" u="none" strike="noStrike" kern="1200" dirty="0">
              <a:solidFill>
                <a:schemeClr val="tx1"/>
              </a:solidFill>
              <a:effectLst/>
              <a:latin typeface="Segoe UI" panose="020B0502040204020203" pitchFamily="34" charset="0"/>
              <a:ea typeface="+mn-ea"/>
              <a:cs typeface="+mn-cs"/>
            </a:endParaRPr>
          </a:p>
          <a:p>
            <a:pPr marL="0" indent="0">
              <a:lnSpc>
                <a:spcPct val="90000"/>
              </a:lnSpc>
              <a:spcBef>
                <a:spcPts val="0"/>
              </a:spcBef>
              <a:spcAft>
                <a:spcPts val="1200"/>
              </a:spcAft>
              <a:buNone/>
            </a:pPr>
            <a:r>
              <a:rPr lang="en-US" sz="882" b="1" i="0" u="none" strike="noStrike" kern="1200" dirty="0">
                <a:solidFill>
                  <a:schemeClr val="tx1"/>
                </a:solidFill>
                <a:effectLst/>
                <a:latin typeface="Segoe UI" panose="020B0502040204020203" pitchFamily="34" charset="0"/>
                <a:ea typeface="+mn-ea"/>
                <a:cs typeface="+mn-cs"/>
              </a:rPr>
              <a:t>Additional notes (presenter reference only):</a:t>
            </a:r>
          </a:p>
          <a:p>
            <a:pPr marL="0" indent="0">
              <a:lnSpc>
                <a:spcPct val="90000"/>
              </a:lnSpc>
              <a:spcBef>
                <a:spcPts val="0"/>
              </a:spcBef>
              <a:spcAft>
                <a:spcPts val="1200"/>
              </a:spcAft>
              <a:buNone/>
            </a:pPr>
            <a:r>
              <a:rPr lang="en-US" sz="882" b="0" i="0" u="none" strike="noStrike" kern="1200" dirty="0">
                <a:solidFill>
                  <a:schemeClr val="tx1"/>
                </a:solidFill>
                <a:effectLst/>
                <a:latin typeface="Segoe UI" panose="020B0502040204020203" pitchFamily="34" charset="0"/>
                <a:ea typeface="+mn-ea"/>
                <a:cs typeface="+mn-cs"/>
              </a:rPr>
              <a:t>And you may have seen AWS’ blog published by an AWS employee trying to claim that SQL IaaS runs best on AWS. That is not the case.</a:t>
            </a:r>
          </a:p>
          <a:p>
            <a:pPr marL="342900" indent="-342900" algn="l">
              <a:buFont typeface="Wingdings" panose="05000000000000000000" pitchFamily="2" charset="2"/>
              <a:buChar char="§"/>
            </a:pPr>
            <a:r>
              <a:rPr lang="en-US" sz="2000" b="0" i="0" dirty="0">
                <a:effectLst/>
                <a:latin typeface="Calibri" panose="020F0502020204030204" pitchFamily="34" charset="0"/>
              </a:rPr>
              <a:t>TPC-C is now well past ‘legal drinking age’ unlike TPC-E it does not reflect modern workloads: </a:t>
            </a:r>
            <a:r>
              <a:rPr lang="en-US" sz="2000" b="1" i="0" dirty="0">
                <a:effectLst/>
                <a:latin typeface="Calibri" panose="020F0502020204030204" pitchFamily="34" charset="0"/>
              </a:rPr>
              <a:t>AWS is promoting benchmarks that are no longer relevant in today’s customers’ environments</a:t>
            </a:r>
            <a:r>
              <a:rPr lang="en-US" sz="2000" b="0" i="0" dirty="0">
                <a:effectLst/>
                <a:latin typeface="Calibri" panose="020F0502020204030204" pitchFamily="34" charset="0"/>
              </a:rPr>
              <a:t>. This bullet point alone would put the debate to rest.</a:t>
            </a:r>
          </a:p>
          <a:p>
            <a:pPr marL="800100" lvl="1" indent="-342900" algn="l">
              <a:buFont typeface="Wingdings" panose="05000000000000000000" pitchFamily="2" charset="2"/>
              <a:buChar char="§"/>
            </a:pPr>
            <a:r>
              <a:rPr lang="en-US" sz="2000" b="0" i="0" dirty="0">
                <a:effectLst/>
                <a:latin typeface="Calibri" panose="020F0502020204030204" pitchFamily="34" charset="0"/>
              </a:rPr>
              <a:t>The TPC-E numbers on Windows that Giga produced for AMD-based VMs show once major advantages for Azure both in terms of performance and price/performance and compare the latest gen of AMD-based VMs on both platforms. </a:t>
            </a:r>
          </a:p>
          <a:p>
            <a:pPr marL="800100" lvl="1" indent="-342900" algn="l">
              <a:buFont typeface="Wingdings" panose="05000000000000000000" pitchFamily="2" charset="2"/>
              <a:buChar char="§"/>
            </a:pPr>
            <a:r>
              <a:rPr lang="en-US" sz="2000" b="0" i="0" dirty="0">
                <a:effectLst/>
                <a:latin typeface="Calibri" panose="020F0502020204030204" pitchFamily="34" charset="0"/>
              </a:rPr>
              <a:t>They used </a:t>
            </a:r>
            <a:r>
              <a:rPr lang="en-US" sz="2000" b="1" i="0" dirty="0">
                <a:effectLst/>
                <a:latin typeface="Calibri" panose="020F0502020204030204" pitchFamily="34" charset="0"/>
              </a:rPr>
              <a:t>Ultra Disks in their comparisons, which constitute a very small percentage of our base, nonetheless the figures </a:t>
            </a:r>
            <a:r>
              <a:rPr lang="en-US" sz="2000" b="1" i="0" dirty="0" err="1">
                <a:effectLst/>
                <a:latin typeface="Calibri" panose="020F0502020204030204" pitchFamily="34" charset="0"/>
              </a:rPr>
              <a:t>GigaOM</a:t>
            </a:r>
            <a:r>
              <a:rPr lang="en-US" sz="2000" b="1" i="0" dirty="0">
                <a:effectLst/>
                <a:latin typeface="Calibri" panose="020F0502020204030204" pitchFamily="34" charset="0"/>
              </a:rPr>
              <a:t> has already published with TPC-E make us look better that AWS even when using Ultra Disks</a:t>
            </a:r>
            <a:r>
              <a:rPr lang="en-US" sz="2000" b="0" i="0" dirty="0">
                <a:effectLst/>
                <a:latin typeface="Calibri" panose="020F0502020204030204" pitchFamily="34" charset="0"/>
              </a:rPr>
              <a:t> </a:t>
            </a:r>
          </a:p>
          <a:p>
            <a:pPr marL="342900" indent="-342900" algn="l">
              <a:buFont typeface="Wingdings" panose="05000000000000000000" pitchFamily="2" charset="2"/>
              <a:buChar char="§"/>
            </a:pPr>
            <a:r>
              <a:rPr lang="en-US" sz="2000" b="1" i="0" dirty="0" err="1">
                <a:effectLst/>
                <a:latin typeface="Calibri" panose="020F0502020204030204" pitchFamily="34" charset="0"/>
              </a:rPr>
              <a:t>BenchCraft</a:t>
            </a:r>
            <a:r>
              <a:rPr lang="en-US" sz="2000" b="1" i="0" dirty="0">
                <a:effectLst/>
                <a:latin typeface="Calibri" panose="020F0502020204030204" pitchFamily="34" charset="0"/>
              </a:rPr>
              <a:t> is the tool used by every vendor that published officially audited TPC-E results, </a:t>
            </a:r>
            <a:r>
              <a:rPr lang="en-US" sz="2000" b="0" i="0" dirty="0">
                <a:effectLst/>
                <a:latin typeface="Calibri" panose="020F0502020204030204" pitchFamily="34" charset="0"/>
              </a:rPr>
              <a:t>(as you can see from the supporting files indexes). The tool has been audited by TPC.ORG. Claiming that </a:t>
            </a:r>
            <a:r>
              <a:rPr lang="en-US" sz="2000" b="0" i="0" dirty="0" err="1">
                <a:effectLst/>
                <a:latin typeface="Calibri" panose="020F0502020204030204" pitchFamily="34" charset="0"/>
              </a:rPr>
              <a:t>BenchCraft</a:t>
            </a:r>
            <a:r>
              <a:rPr lang="en-US" sz="2000" b="0" i="0" dirty="0">
                <a:effectLst/>
                <a:latin typeface="Calibri" panose="020F0502020204030204" pitchFamily="34" charset="0"/>
              </a:rPr>
              <a:t> is ‘opaque’ or insinuating that is ‘rigged’ is preposterous.</a:t>
            </a:r>
            <a:r>
              <a:rPr lang="en-US" sz="2000" b="0" i="0" dirty="0">
                <a:effectLst/>
                <a:latin typeface="Segoe UI" panose="020B0502040204020203" pitchFamily="34" charset="0"/>
              </a:rPr>
              <a:t> </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i="0" dirty="0">
                <a:effectLst/>
                <a:latin typeface="Calibri" panose="020F0502020204030204" pitchFamily="34" charset="0"/>
              </a:rPr>
              <a:t>We do not have the same issue with the benchmark that we may publish on AMD VMs, but the SQL team has already repeated the existing </a:t>
            </a:r>
            <a:r>
              <a:rPr lang="en-US" sz="2000" b="0" i="0" dirty="0" err="1">
                <a:effectLst/>
                <a:latin typeface="Calibri" panose="020F0502020204030204" pitchFamily="34" charset="0"/>
              </a:rPr>
              <a:t>GigaOM</a:t>
            </a:r>
            <a:r>
              <a:rPr lang="en-US" sz="2000" b="0" i="0" dirty="0">
                <a:effectLst/>
                <a:latin typeface="Calibri" panose="020F0502020204030204" pitchFamily="34" charset="0"/>
              </a:rPr>
              <a:t> benchmark with striping and the results are still very favorable to us (2.7x better performance).</a:t>
            </a:r>
            <a:endParaRPr lang="en-US" sz="2000" dirty="0"/>
          </a:p>
          <a:p>
            <a:pPr marL="0" indent="0">
              <a:lnSpc>
                <a:spcPct val="90000"/>
              </a:lnSpc>
              <a:spcBef>
                <a:spcPts val="0"/>
              </a:spcBef>
              <a:spcAft>
                <a:spcPts val="1200"/>
              </a:spcAft>
              <a:buNone/>
            </a:pPr>
            <a:endParaRPr lang="en-US" sz="1400" kern="0" dirty="0">
              <a:solidFill>
                <a:srgbClr val="0078D7"/>
              </a:solidFill>
              <a:latin typeface="Segoe UI"/>
              <a:ea typeface="Segoe UI" charset="0"/>
              <a:cs typeface="Segoe UI" charset="0"/>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55DC690-BF42-4CD8-A685-CF61807EAA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938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zure provides a strong secure foundation to strengthen your security posture across operations, technology and partnership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t Microsoft, w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vest $1B annually in cybersecurity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ave over 3500 global security experts to monitor and secure the environment Azure resour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enefit from the Microsoft Intelligent Security Graph, which uses trillions of signals from Microsoft services and systems around the globe to identify new and evolving threat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FB2CA-E48E-4A52-8ADC-7252F77247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3499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9.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Master" Target="../slideMasters/slideMaster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4" Type="http://schemas.openxmlformats.org/officeDocument/2006/relationships/image" Target="../media/image50.jpe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6.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73.wmf"/><Relationship Id="rId2" Type="http://schemas.openxmlformats.org/officeDocument/2006/relationships/image" Target="../media/image72.emf"/><Relationship Id="rId1" Type="http://schemas.openxmlformats.org/officeDocument/2006/relationships/slideMaster" Target="../slideMasters/slideMaster8.xml"/><Relationship Id="rId5" Type="http://schemas.openxmlformats.org/officeDocument/2006/relationships/image" Target="../media/image75.wmf"/><Relationship Id="rId4" Type="http://schemas.openxmlformats.org/officeDocument/2006/relationships/image" Target="../media/image74.w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73.wmf"/><Relationship Id="rId2" Type="http://schemas.openxmlformats.org/officeDocument/2006/relationships/image" Target="../media/image72.emf"/><Relationship Id="rId1" Type="http://schemas.openxmlformats.org/officeDocument/2006/relationships/slideMaster" Target="../slideMasters/slideMaster9.xml"/><Relationship Id="rId5" Type="http://schemas.openxmlformats.org/officeDocument/2006/relationships/image" Target="../media/image75.wmf"/><Relationship Id="rId4" Type="http://schemas.openxmlformats.org/officeDocument/2006/relationships/image" Target="../media/image74.wmf"/></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3.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73.wmf"/><Relationship Id="rId2" Type="http://schemas.openxmlformats.org/officeDocument/2006/relationships/image" Target="../media/image72.emf"/><Relationship Id="rId1" Type="http://schemas.openxmlformats.org/officeDocument/2006/relationships/slideMaster" Target="../slideMasters/slideMaster13.xml"/><Relationship Id="rId5" Type="http://schemas.openxmlformats.org/officeDocument/2006/relationships/image" Target="../media/image75.wmf"/><Relationship Id="rId4" Type="http://schemas.openxmlformats.org/officeDocument/2006/relationships/image" Target="../media/image74.wmf"/></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3.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3.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emf"/><Relationship Id="rId1" Type="http://schemas.openxmlformats.org/officeDocument/2006/relationships/slideMaster" Target="../slideMasters/slideMaster14.xml"/><Relationship Id="rId4" Type="http://schemas.openxmlformats.org/officeDocument/2006/relationships/image" Target="../media/image87.png"/></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6.jpeg"/></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8.jpeg"/><Relationship Id="rId1" Type="http://schemas.openxmlformats.org/officeDocument/2006/relationships/slideMaster" Target="../slideMasters/slideMaster15.xml"/><Relationship Id="rId4" Type="http://schemas.openxmlformats.org/officeDocument/2006/relationships/image" Target="../media/image89.png"/></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0.jpe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5.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5.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5.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5.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Master" Target="../slideMasters/slideMaster15.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5.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5.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5.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xmlns=""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176578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xmlns=""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xmlns=""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94153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31619911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23070950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99097" y="0"/>
            <a:ext cx="5973790" cy="6858000"/>
          </a:xfrm>
          <a:prstGeom prst="rect">
            <a:avLst/>
          </a:prstGeom>
        </p:spPr>
      </p:pic>
    </p:spTree>
    <p:extLst>
      <p:ext uri="{BB962C8B-B14F-4D97-AF65-F5344CB8AC3E}">
        <p14:creationId xmlns:p14="http://schemas.microsoft.com/office/powerpoint/2010/main" val="277859357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895307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85818907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05175483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6587358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118747667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969882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720971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xmlns=""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xmlns=""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69441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442074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8505204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58905540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8133007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527967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720175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365184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24127456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9856230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9985549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49972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142318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706271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22736799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64600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4990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17885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2516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280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313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457201"/>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1"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430901"/>
          </a:xfrm>
        </p:spPr>
        <p:txBody>
          <a:bodyPr/>
          <a:lstStyle/>
          <a:p>
            <a:endParaRPr lang="en-US"/>
          </a:p>
        </p:txBody>
      </p:sp>
    </p:spTree>
    <p:extLst>
      <p:ext uri="{BB962C8B-B14F-4D97-AF65-F5344CB8AC3E}">
        <p14:creationId xmlns:p14="http://schemas.microsoft.com/office/powerpoint/2010/main" val="2496085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87224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1"/>
            <a:ext cx="4616560" cy="1268039"/>
          </a:xfrm>
        </p:spPr>
        <p:txBody>
          <a:bodyPr anchor="ctr"/>
          <a:lstStyle>
            <a:lvl1pPr marL="400055" indent="-400055">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3338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57871164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430901"/>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8451504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688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809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latin typeface="+mn-lt"/>
              </a:defRPr>
            </a:lvl1pPr>
            <a:lvl2pPr marL="228603" indent="0">
              <a:buNone/>
              <a:defRPr sz="1600"/>
            </a:lvl2pPr>
            <a:lvl3pPr marL="457205" indent="0">
              <a:buNone/>
              <a:defRPr sz="1200"/>
            </a:lvl3pPr>
            <a:lvl4pPr marL="685808" indent="0">
              <a:buNone/>
              <a:defRPr sz="1100"/>
            </a:lvl4pPr>
            <a:lvl5pPr marL="914411"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0118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3" indent="0">
              <a:buNone/>
              <a:defRPr sz="1600">
                <a:solidFill>
                  <a:schemeClr val="bg1"/>
                </a:solidFill>
              </a:defRPr>
            </a:lvl2pPr>
            <a:lvl3pPr marL="457205" indent="0">
              <a:buNone/>
              <a:defRPr sz="1200">
                <a:solidFill>
                  <a:schemeClr val="bg1"/>
                </a:solidFill>
              </a:defRPr>
            </a:lvl3pPr>
            <a:lvl4pPr marL="685808" indent="0">
              <a:buNone/>
              <a:defRPr sz="1100">
                <a:solidFill>
                  <a:schemeClr val="bg1"/>
                </a:solidFill>
              </a:defRPr>
            </a:lvl4pPr>
            <a:lvl5pPr marL="914411"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110812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117868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12423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88933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706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3098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4080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7729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26761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826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7419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19106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968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227571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99025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302"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396980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9018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7580855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79451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3495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200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940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1784196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379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9463017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8985869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7909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585139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748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38072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0389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075577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53301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5056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4823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84174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79341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204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428715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4415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08608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907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281144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02857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747993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4735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CDEC26-6395-4863-A1C9-C768269AFD9C}"/>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artisticGlowEdges/>
                    </a14:imgEffect>
                  </a14:imgLayer>
                </a14:imgProps>
              </a:ext>
            </a:extLst>
          </a:blip>
          <a:stretch>
            <a:fillRect/>
          </a:stretch>
        </p:blipFill>
        <p:spPr>
          <a:xfrm>
            <a:off x="0" y="1217515"/>
            <a:ext cx="12192000" cy="563976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861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5484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7108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0604109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7564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51194"/>
          </a:xfrm>
        </p:spPr>
        <p:txBody>
          <a:bodyPr/>
          <a:lstStyle>
            <a:lvl1pPr>
              <a:defRPr sz="24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8943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5509610" cy="1551194"/>
          </a:xfrm>
        </p:spPr>
        <p:txBody>
          <a:bodyPr wrap="square">
            <a:spAutoFit/>
          </a:bodyPr>
          <a:lstStyle>
            <a:lvl1pPr marL="0" indent="0">
              <a:spcBef>
                <a:spcPts val="1200"/>
              </a:spcBef>
              <a:buNone/>
              <a:defRPr sz="24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355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8224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5484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113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8419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707832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5947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49056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xmlns=""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xmlns=""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362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54002839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4377280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4312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BFF89-622D-4067-902F-1157D8B9FBB4}"/>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9D073AD8-7E26-44F1-BD83-337956D6A760}"/>
              </a:ext>
            </a:extLst>
          </p:cNvPr>
          <p:cNvSpPr>
            <a:spLocks noGrp="1"/>
          </p:cNvSpPr>
          <p:nvPr>
            <p:ph type="body" sz="quarter" idx="10" hasCustomPrompt="1"/>
          </p:nvPr>
        </p:nvSpPr>
        <p:spPr>
          <a:xfrm>
            <a:off x="588962" y="1131988"/>
            <a:ext cx="11020425" cy="369332"/>
          </a:xfrm>
        </p:spPr>
        <p:txBody>
          <a:bodyPr vert="horz" wrap="square" lIns="0" tIns="0" rIns="0" bIns="0" rtlCol="0" anchor="t">
            <a:spAutoFit/>
          </a:bodyPr>
          <a:lstStyle>
            <a:lvl1pPr marL="0" indent="0">
              <a:buNone/>
              <a:defRPr lang="en-US" sz="2400" b="0" cap="none" spc="-50" dirty="0" smtClean="0">
                <a:ln w="3175">
                  <a:noFill/>
                </a:ln>
                <a:solidFill>
                  <a:schemeClr val="accent1"/>
                </a:solidFill>
                <a:effectLst/>
                <a:latin typeface="+mj-lt"/>
                <a:cs typeface="Segoe UI" pitchFamily="34" charset="0"/>
              </a:defRPr>
            </a:lvl1pPr>
          </a:lstStyle>
          <a:p>
            <a:pPr marL="228600" lvl="0" indent="-228600">
              <a:spcBef>
                <a:spcPct val="0"/>
              </a:spcBef>
            </a:pPr>
            <a:r>
              <a:rPr lang="en-US"/>
              <a:t>Subtitle</a:t>
            </a:r>
          </a:p>
        </p:txBody>
      </p:sp>
    </p:spTree>
    <p:extLst>
      <p:ext uri="{BB962C8B-B14F-4D97-AF65-F5344CB8AC3E}">
        <p14:creationId xmlns:p14="http://schemas.microsoft.com/office/powerpoint/2010/main" val="32326648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237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867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3597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368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072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597404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2334548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xmlns=""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22058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94443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000226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59998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162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966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407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9480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380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67341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85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xmlns=""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5094754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4470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59324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
        <p:nvSpPr>
          <p:cNvPr id="6" name="Title 5">
            <a:extLst>
              <a:ext uri="{FF2B5EF4-FFF2-40B4-BE49-F238E27FC236}">
                <a16:creationId xmlns:a16="http://schemas.microsoft.com/office/drawing/2014/main" id="{4318AB62-3FCD-40D7-8831-D42AD50096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5752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584200"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584388" y="3204862"/>
            <a:ext cx="2102988" cy="448276"/>
          </a:xfrm>
          <a:prstGeom prst="rect">
            <a:avLst/>
          </a:prstGeom>
        </p:spPr>
      </p:pic>
    </p:spTree>
    <p:extLst>
      <p:ext uri="{BB962C8B-B14F-4D97-AF65-F5344CB8AC3E}">
        <p14:creationId xmlns:p14="http://schemas.microsoft.com/office/powerpoint/2010/main" val="664503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72C6C5-70B5-47AA-BB8F-A396D5ED36CA}"/>
              </a:ext>
            </a:extLst>
          </p:cNvPr>
          <p:cNvSpPr/>
          <p:nvPr userDrawn="1"/>
        </p:nvSpPr>
        <p:spPr bwMode="auto">
          <a:xfrm>
            <a:off x="0" y="0"/>
            <a:ext cx="3937518"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CCE1B01-854D-4F4A-8556-AFBBF0873A7D}"/>
              </a:ext>
            </a:extLst>
          </p:cNvPr>
          <p:cNvCxnSpPr>
            <a:cxnSpLocks/>
          </p:cNvCxnSpPr>
          <p:nvPr userDrawn="1"/>
        </p:nvCxnSpPr>
        <p:spPr>
          <a:xfrm>
            <a:off x="0" y="3434086"/>
            <a:ext cx="3937518"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5D24215-F56D-4CDD-9716-F01DE7AE36F6}"/>
              </a:ext>
            </a:extLst>
          </p:cNvPr>
          <p:cNvSpPr>
            <a:spLocks noGrp="1"/>
          </p:cNvSpPr>
          <p:nvPr>
            <p:ph type="body" sz="quarter" idx="10" hasCustomPrompt="1"/>
          </p:nvPr>
        </p:nvSpPr>
        <p:spPr>
          <a:xfrm>
            <a:off x="441582" y="2709706"/>
            <a:ext cx="3054351" cy="430877"/>
          </a:xfrm>
        </p:spPr>
        <p:txBody>
          <a:bodyPr/>
          <a:lstStyle>
            <a:lvl1pPr marL="0" indent="0" algn="ctr">
              <a:buNone/>
              <a:defRPr>
                <a:solidFill>
                  <a:schemeClr val="bg1"/>
                </a:solidFill>
                <a:latin typeface="+mj-lt"/>
              </a:defRPr>
            </a:lvl1pPr>
          </a:lstStyle>
          <a:p>
            <a:pPr lvl="0"/>
            <a:r>
              <a:rPr lang="en-US"/>
              <a:t>Slide Title</a:t>
            </a:r>
          </a:p>
        </p:txBody>
      </p:sp>
      <p:sp>
        <p:nvSpPr>
          <p:cNvPr id="15" name="Text Placeholder 14">
            <a:extLst>
              <a:ext uri="{FF2B5EF4-FFF2-40B4-BE49-F238E27FC236}">
                <a16:creationId xmlns:a16="http://schemas.microsoft.com/office/drawing/2014/main" id="{20D195CF-9979-4826-8239-58BD67F06906}"/>
              </a:ext>
            </a:extLst>
          </p:cNvPr>
          <p:cNvSpPr>
            <a:spLocks noGrp="1"/>
          </p:cNvSpPr>
          <p:nvPr>
            <p:ph type="body" sz="quarter" idx="11"/>
          </p:nvPr>
        </p:nvSpPr>
        <p:spPr>
          <a:xfrm>
            <a:off x="714375" y="3652323"/>
            <a:ext cx="2590800" cy="1579920"/>
          </a:xfrm>
        </p:spPr>
        <p:txBody>
          <a:bodyPr/>
          <a:lstStyle>
            <a:lvl1pPr>
              <a:defRPr sz="1770">
                <a:solidFill>
                  <a:schemeClr val="bg1"/>
                </a:solidFill>
                <a:latin typeface="+mn-lt"/>
              </a:defRPr>
            </a:lvl1pPr>
            <a:lvl2pPr>
              <a:defRPr sz="1770">
                <a:solidFill>
                  <a:schemeClr val="bg1"/>
                </a:solidFill>
                <a:latin typeface="+mn-lt"/>
              </a:defRPr>
            </a:lvl2pPr>
            <a:lvl3pPr>
              <a:defRPr sz="1770">
                <a:solidFill>
                  <a:schemeClr val="bg1"/>
                </a:solidFill>
                <a:latin typeface="+mn-lt"/>
              </a:defRPr>
            </a:lvl3pPr>
            <a:lvl4pPr>
              <a:defRPr sz="1770">
                <a:solidFill>
                  <a:schemeClr val="bg1"/>
                </a:solidFill>
                <a:latin typeface="+mn-lt"/>
              </a:defRPr>
            </a:lvl4pPr>
            <a:lvl5pPr>
              <a:defRPr sz="177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350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947744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71765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100957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291652518"/>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38374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482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100957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828990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1"/>
            <a:ext cx="12192000" cy="146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490BBA-8BCD-4174-84C7-EA99DEB61F72}"/>
              </a:ext>
            </a:extLst>
          </p:cNvPr>
          <p:cNvSpPr>
            <a:spLocks noGrp="1"/>
          </p:cNvSpPr>
          <p:nvPr>
            <p:ph type="title"/>
          </p:nvPr>
        </p:nvSpPr>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711672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AF2291-FDF2-4D65-A70F-A890CCBA9641}"/>
              </a:ext>
            </a:extLst>
          </p:cNvPr>
          <p:cNvSpPr>
            <a:spLocks noGrp="1"/>
          </p:cNvSpPr>
          <p:nvPr>
            <p:ph type="dt" sz="half" idx="10"/>
          </p:nvPr>
        </p:nvSpPr>
        <p:spPr/>
        <p:txBody>
          <a:bodyPr/>
          <a:lstStyle/>
          <a:p>
            <a:fld id="{ED0465D6-47E3-4101-B7CC-2A3423DCF8D8}" type="datetimeFigureOut">
              <a:rPr lang="en-US" smtClean="0"/>
              <a:t>6/23/2022</a:t>
            </a:fld>
            <a:endParaRPr lang="en-US"/>
          </a:p>
        </p:txBody>
      </p:sp>
      <p:sp>
        <p:nvSpPr>
          <p:cNvPr id="3" name="Footer Placeholder 2">
            <a:extLst>
              <a:ext uri="{FF2B5EF4-FFF2-40B4-BE49-F238E27FC236}">
                <a16:creationId xmlns:a16="http://schemas.microsoft.com/office/drawing/2014/main" id="{999DC54D-8AA4-401B-A78D-28FDDBA51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367EC2-729A-4CA6-81A2-5ACDC6E34DAF}"/>
              </a:ext>
            </a:extLst>
          </p:cNvPr>
          <p:cNvSpPr>
            <a:spLocks noGrp="1"/>
          </p:cNvSpPr>
          <p:nvPr>
            <p:ph type="sldNum" sz="quarter" idx="12"/>
          </p:nvPr>
        </p:nvSpPr>
        <p:spPr/>
        <p:txBody>
          <a:bodyPr/>
          <a:lstStyle/>
          <a:p>
            <a:fld id="{E8F82C24-2708-4556-8912-C022F74D2A37}" type="slidenum">
              <a:rPr lang="en-US" smtClean="0"/>
              <a:t>‹#›</a:t>
            </a:fld>
            <a:endParaRPr lang="en-US"/>
          </a:p>
        </p:txBody>
      </p:sp>
    </p:spTree>
    <p:extLst>
      <p:ext uri="{BB962C8B-B14F-4D97-AF65-F5344CB8AC3E}">
        <p14:creationId xmlns:p14="http://schemas.microsoft.com/office/powerpoint/2010/main" val="39817255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0735947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7ED90-905D-4992-9E1A-73D50A8936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9A4A82-C4A7-49D4-979F-B75FDE53E0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5FD261-E37D-4A19-A31F-D1892C47F1CD}"/>
              </a:ext>
            </a:extLst>
          </p:cNvPr>
          <p:cNvSpPr>
            <a:spLocks noGrp="1"/>
          </p:cNvSpPr>
          <p:nvPr>
            <p:ph type="dt" sz="half" idx="10"/>
          </p:nvPr>
        </p:nvSpPr>
        <p:spPr/>
        <p:txBody>
          <a:bodyPr/>
          <a:lstStyle/>
          <a:p>
            <a:fld id="{609D916B-EB47-4DB9-BBA4-0553AE97B050}" type="datetimeFigureOut">
              <a:rPr lang="en-US" smtClean="0"/>
              <a:t>6/23/2022</a:t>
            </a:fld>
            <a:endParaRPr lang="en-US"/>
          </a:p>
        </p:txBody>
      </p:sp>
      <p:sp>
        <p:nvSpPr>
          <p:cNvPr id="5" name="Footer Placeholder 4">
            <a:extLst>
              <a:ext uri="{FF2B5EF4-FFF2-40B4-BE49-F238E27FC236}">
                <a16:creationId xmlns:a16="http://schemas.microsoft.com/office/drawing/2014/main" id="{95957B60-9909-4BFF-B088-932F3581E3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6AED38-62B5-411E-B764-110C944AD103}"/>
              </a:ext>
            </a:extLst>
          </p:cNvPr>
          <p:cNvSpPr>
            <a:spLocks noGrp="1"/>
          </p:cNvSpPr>
          <p:nvPr>
            <p:ph type="sldNum" sz="quarter" idx="12"/>
          </p:nvPr>
        </p:nvSpPr>
        <p:spPr/>
        <p:txBody>
          <a:bodyPr/>
          <a:lstStyle/>
          <a:p>
            <a:fld id="{3C046E2C-F3E3-44BE-AAE4-47616FBF0649}" type="slidenum">
              <a:rPr lang="en-US" smtClean="0"/>
              <a:t>‹#›</a:t>
            </a:fld>
            <a:endParaRPr lang="en-US"/>
          </a:p>
        </p:txBody>
      </p:sp>
    </p:spTree>
    <p:extLst>
      <p:ext uri="{BB962C8B-B14F-4D97-AF65-F5344CB8AC3E}">
        <p14:creationId xmlns:p14="http://schemas.microsoft.com/office/powerpoint/2010/main" val="37348050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67531542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4673092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2656542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850977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85800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xmlns=""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563370"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6039055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xmlns="" val="1"/>
              </a:ext>
            </a:extLst>
          </p:cNvPr>
          <p:cNvSpPr/>
          <p:nvPr userDrawn="1"/>
        </p:nvSpPr>
        <p:spPr bwMode="auto">
          <a:xfrm>
            <a:off x="-1" y="1856690"/>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9" y="1985151"/>
            <a:ext cx="5181463" cy="2503306"/>
          </a:xfrm>
          <a:prstGeom prst="rect">
            <a:avLst/>
          </a:prstGeom>
          <a:noFill/>
        </p:spPr>
        <p:txBody>
          <a:bodyPr vert="horz" wrap="square" lIns="0" tIns="0" rIns="0" bIns="0" rtlCol="0" anchor="ctr" anchorCtr="0">
            <a:noAutofit/>
          </a:bodyPr>
          <a:lstStyle>
            <a:lvl1pPr>
              <a:defRPr lang="en-US" sz="4704" spc="-49" baseline="0" dirty="0">
                <a:solidFill>
                  <a:srgbClr val="000000"/>
                </a:solidFill>
              </a:defRPr>
            </a:lvl1pPr>
          </a:lstStyle>
          <a:p>
            <a:pPr marL="0" lvl="0">
              <a:lnSpc>
                <a:spcPts val="5489"/>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188113335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45545102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80" y="3201255"/>
            <a:ext cx="3199543" cy="455490"/>
          </a:xfrm>
          <a:prstGeom prst="rect">
            <a:avLst/>
          </a:prstGeom>
          <a:noFill/>
        </p:spPr>
        <p:txBody>
          <a:bodyPr lIns="0" tIns="0" rIns="0" bIns="0" anchor="t" anchorCtr="0"/>
          <a:lstStyle>
            <a:lvl1pPr algn="r">
              <a:lnSpc>
                <a:spcPct val="100000"/>
              </a:lnSpc>
              <a:spcAft>
                <a:spcPts val="1273"/>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2"/>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340507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181674229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xmlns=""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46802725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410710351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389865444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1913717"/>
            <a:ext cx="4956478" cy="4944285"/>
          </a:xfrm>
          <a:prstGeom prst="rect">
            <a:avLst/>
          </a:prstGeom>
        </p:spPr>
      </p:pic>
    </p:spTree>
    <p:extLst>
      <p:ext uri="{BB962C8B-B14F-4D97-AF65-F5344CB8AC3E}">
        <p14:creationId xmlns:p14="http://schemas.microsoft.com/office/powerpoint/2010/main" val="215764182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xmlns=""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815555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9088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87428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033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446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245282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485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408029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944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9974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17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78063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733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3933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9403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79724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4246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259083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75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7316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6015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96393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871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2662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385781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94242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7384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534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2942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440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354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286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4972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62422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8618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92414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280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14098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2589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454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676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823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6853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4125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xmlns=""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xmlns=""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xmlns=""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xmlns=""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xmlns=""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xmlns=""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xmlns=""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xmlns=""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xmlns=""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xmlns=""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3467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421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26602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878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5781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33574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253737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22957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925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3435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18701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43252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4979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555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0954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187346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41294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86518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582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41328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55772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5544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04710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4216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6020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2551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09844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975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xmlns=""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xmlns=""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968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36046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xmlns=""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xmlns=""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34766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7765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1763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58672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6639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160019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182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9832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7671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5452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3057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3452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567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00151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2068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0036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3900481028"/>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407101-0565-4059-9F3C-2A3137569E94}"/>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9678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9996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xmlns=""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xmlns=""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xmlns=""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xmlns=""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xmlns=""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xmlns=""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xmlns=""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xmlns=""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xmlns=""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xmlns=""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0238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7649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F69C77-EE01-4B73-A8F6-E090D215BFA7}"/>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2142"/>
            <a:ext cx="12192000" cy="6853716"/>
          </a:xfrm>
          <a:prstGeom prst="rect">
            <a:avLst/>
          </a:prstGeom>
        </p:spPr>
      </p:pic>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9039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xmlns=""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xmlns=""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8398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8587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6842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57698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xmlns=""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xmlns=""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6641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872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1864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08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42012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3826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9009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5945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0345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xmlns=""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1367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xmlns=""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39608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21331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24566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403153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xmlns=""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417741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428163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86070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219901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xmlns=""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561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332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797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8682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932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0029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3429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8471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9333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20612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68076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4740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725755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395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2809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20060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956702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91142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07504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781889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4013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629319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29069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0146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4792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61993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790743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36384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66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23/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5820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10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2390625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xmlns=""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92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1_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214494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899485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7477379"/>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4263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08660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966424"/>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22285811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600"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291351608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2876717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334000" y="0"/>
            <a:ext cx="6858000" cy="6858000"/>
          </a:xfrm>
          <a:prstGeom prst="rect">
            <a:avLst/>
          </a:prstGeom>
        </p:spPr>
      </p:pic>
    </p:spTree>
    <p:extLst>
      <p:ext uri="{BB962C8B-B14F-4D97-AF65-F5344CB8AC3E}">
        <p14:creationId xmlns:p14="http://schemas.microsoft.com/office/powerpoint/2010/main" val="39693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16031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11665"/>
            <a:ext cx="11015474" cy="307777"/>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1674580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2" y="457199"/>
            <a:ext cx="5507737" cy="780757"/>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6515798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1593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5130332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1324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11970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90020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4944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895712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6468281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4936774" cy="1268570"/>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4200" y="2017713"/>
            <a:ext cx="4936774" cy="430887"/>
          </a:xfrm>
        </p:spPr>
        <p:txBody>
          <a:bodyPr/>
          <a:lstStyle>
            <a:lvl1pPr marL="0" indent="0">
              <a:spcBef>
                <a:spcPts val="1800"/>
              </a:spcBef>
              <a:spcAft>
                <a:spcPts val="0"/>
              </a:spcAft>
              <a:buNone/>
              <a:defRPr sz="2800">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114559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6195309" cy="553998"/>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6046998" cy="1778949"/>
          </a:xfrm>
        </p:spPr>
        <p:txBody>
          <a:bodyPr/>
          <a:lstStyle>
            <a:lvl1pPr marL="0" indent="0">
              <a:spcBef>
                <a:spcPts val="1800"/>
              </a:spcBef>
              <a:spcAft>
                <a:spcPts val="0"/>
              </a:spcAft>
              <a:buNone/>
              <a:defRPr sz="2400">
                <a:solidFill>
                  <a:schemeClr val="accent2"/>
                </a:solidFill>
              </a:defRPr>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6193596" cy="307777"/>
          </a:xfrm>
        </p:spPr>
        <p:txBody>
          <a:bodyPr/>
          <a:lstStyle>
            <a:lvl1pPr marL="0" indent="0" algn="l">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981760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877437"/>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600"/>
              </a:spcBef>
              <a:spcAft>
                <a:spcPts val="600"/>
              </a:spcAft>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7340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765790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8585" y="3179701"/>
            <a:ext cx="7710728" cy="4985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806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7933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683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7173089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5154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7081578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936765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5507736" cy="1769715"/>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715687" y="1970468"/>
            <a:ext cx="4589044" cy="1846659"/>
          </a:xfrm>
        </p:spPr>
        <p:txBody>
          <a:bodyPr/>
          <a:lstStyle>
            <a:lvl1pPr marL="0" indent="0">
              <a:spcBef>
                <a:spcPts val="1800"/>
              </a:spcBef>
              <a:spcAft>
                <a:spcPts val="0"/>
              </a:spcAft>
              <a:buNone/>
              <a:defRPr sz="2400">
                <a:solidFill>
                  <a:schemeClr val="accent2"/>
                </a:solidFill>
              </a:defRPr>
            </a:lvl1pPr>
            <a:lvl2pPr marL="0" indent="0">
              <a:spcAft>
                <a:spcPts val="600"/>
              </a:spcAft>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218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436688"/>
            <a:ext cx="4589044" cy="1677382"/>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0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4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9022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5273082" cy="1176216"/>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3" y="2356834"/>
            <a:ext cx="5271623" cy="1403461"/>
          </a:xfrm>
        </p:spPr>
        <p:txBody>
          <a:bodyPr/>
          <a:lstStyle>
            <a:lvl1pPr marL="0" indent="0">
              <a:spcBef>
                <a:spcPts val="1800"/>
              </a:spcBef>
              <a:spcAft>
                <a:spcPts val="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633415"/>
            <a:ext cx="5271624" cy="533800"/>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664018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1904337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46805"/>
      </p:ext>
    </p:extLst>
  </p:cSld>
  <p:clrMapOvr>
    <a:masterClrMapping/>
  </p:clrMapOvr>
  <p:transition>
    <p:fade/>
  </p:transition>
  <p:hf hdr="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BDC5CF0B-5F52-49E1-A15C-4BAF95C2258A}"/>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153641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2032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034887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4920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880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351212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56CB190-4774-426D-9B9E-92D1A765595A}"/>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68022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80450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4861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5034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261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9007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2896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60797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817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18186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68876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825543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7806256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10208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285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6143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227028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772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9238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97284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802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344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1174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7147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5977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06159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18524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409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50389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88646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2895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6476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6159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41147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5471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05292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68867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0978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2618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43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213597"/>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3619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444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2900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5597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65879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14760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76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46316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769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463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8404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7742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17016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797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5164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xmlns=""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xmlns=""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xmlns=""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xmlns=""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xmlns=""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xmlns=""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xmlns=""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xmlns=""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xmlns=""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xmlns=""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42997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8890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6496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015716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21718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312760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656307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325016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0250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260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2236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6241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4354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348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420242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8047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13625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26206171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2757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98582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50649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97599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82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89094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3800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14519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95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8874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95021476"/>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99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23/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30118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262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16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0959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6201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3025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9250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xmlns=""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79795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xmlns=""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xmlns=""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38829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82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83550896"/>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91980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xmlns=""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xmlns=""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10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24689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xmlns=""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01574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66946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2461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258360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7585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xmlns=""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371849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46941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501853"/>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12829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xmlns=""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0480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87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2" y="585790"/>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2"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xmlns="" val="1"/>
              </a:ext>
            </a:extLst>
          </p:cNvPr>
          <p:cNvPicPr>
            <a:picLocks noChangeAspect="1"/>
          </p:cNvPicPr>
          <p:nvPr userDrawn="1"/>
        </p:nvPicPr>
        <p:blipFill rotWithShape="1">
          <a:blip r:embed="rId4"/>
          <a:srcRect t="4112" r="7055" b="32576"/>
          <a:stretch/>
        </p:blipFill>
        <p:spPr>
          <a:xfrm>
            <a:off x="5479695" y="0"/>
            <a:ext cx="6712307" cy="6858000"/>
          </a:xfrm>
          <a:prstGeom prst="rect">
            <a:avLst/>
          </a:prstGeom>
        </p:spPr>
      </p:pic>
    </p:spTree>
    <p:extLst>
      <p:ext uri="{BB962C8B-B14F-4D97-AF65-F5344CB8AC3E}">
        <p14:creationId xmlns:p14="http://schemas.microsoft.com/office/powerpoint/2010/main" val="3004403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90" y="589607"/>
            <a:ext cx="3200400" cy="307804"/>
          </a:xfrm>
        </p:spPr>
        <p:txBody>
          <a:bodyPr lIns="0" tIns="0" rIns="0" bIns="0"/>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4" indent="0">
              <a:buNone/>
              <a:defRPr sz="2000"/>
            </a:lvl5pPr>
          </a:lstStyle>
          <a:p>
            <a:pPr lvl="0"/>
            <a:r>
              <a:rPr lang="en-US"/>
              <a:t>Session code</a:t>
            </a:r>
          </a:p>
        </p:txBody>
      </p:sp>
    </p:spTree>
    <p:extLst>
      <p:ext uri="{BB962C8B-B14F-4D97-AF65-F5344CB8AC3E}">
        <p14:creationId xmlns:p14="http://schemas.microsoft.com/office/powerpoint/2010/main" val="1196453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5581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2723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277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41909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086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714487340"/>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31990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77004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0821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7"/>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757128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22394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17995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650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583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421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498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375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11510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5317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162204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96059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3881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00268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3417924779"/>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19902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0918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310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18181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71850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39320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5389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389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5667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807727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450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0256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63997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53564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060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813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18668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83089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81161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89321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19972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6421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xmlns=""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035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7339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8878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92424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1265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61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055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1102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144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52501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65930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682886145"/>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962115652"/>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3380842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5881741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440263759"/>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8144501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6/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614101581"/>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6/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4080471616"/>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369761051"/>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57204069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93561298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7399243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779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263200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865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8" y="4518927"/>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2" y="3389737"/>
            <a:ext cx="6275850"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8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spTree>
    <p:extLst>
      <p:ext uri="{BB962C8B-B14F-4D97-AF65-F5344CB8AC3E}">
        <p14:creationId xmlns:p14="http://schemas.microsoft.com/office/powerpoint/2010/main" val="351310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907767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718184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6002431"/>
            <a:ext cx="1792850" cy="384107"/>
          </a:xfrm>
          <a:prstGeom prst="rect">
            <a:avLst/>
          </a:prstGeom>
        </p:spPr>
      </p:pic>
    </p:spTree>
    <p:extLst>
      <p:ext uri="{BB962C8B-B14F-4D97-AF65-F5344CB8AC3E}">
        <p14:creationId xmlns:p14="http://schemas.microsoft.com/office/powerpoint/2010/main" val="1915031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5"/>
            <a:ext cx="11653523" cy="1714049"/>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8079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96064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60930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85970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98636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28139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871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6228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22160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050593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499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65331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5358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963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1068"/>
            <a:ext cx="11653523" cy="832882"/>
          </a:xfrm>
          <a:noFill/>
        </p:spPr>
        <p:txBody>
          <a:bodyPr tIns="91440" bIns="91440" anchor="t" anchorCtr="0">
            <a:spAutoFit/>
          </a:bodyPr>
          <a:lstStyle>
            <a:lvl1pPr>
              <a:defRPr sz="4706" spc="-98"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69239" y="1285213"/>
            <a:ext cx="11653523" cy="724246"/>
          </a:xfrm>
        </p:spPr>
        <p:txBody>
          <a:bodyPr/>
          <a:lstStyle>
            <a:lvl1pPr marL="560363" indent="-560363">
              <a:buFont typeface="Wingdings" panose="05000000000000000000" pitchFamily="2" charset="2"/>
              <a:buChar char="§"/>
              <a:defRPr/>
            </a:lvl1pPr>
            <a:lvl2pPr marL="336217" indent="0">
              <a:buNone/>
              <a:defRPr/>
            </a:lvl2pPr>
            <a:lvl3pPr marL="560363" indent="0">
              <a:buNone/>
              <a:defRPr/>
            </a:lvl3pPr>
            <a:lvl4pPr marL="784508" indent="0">
              <a:buNone/>
              <a:defRPr/>
            </a:lvl4pPr>
            <a:lvl5pPr marL="1008652" indent="0">
              <a:buNone/>
              <a:defRPr/>
            </a:lvl5pPr>
          </a:lstStyle>
          <a:p>
            <a:pPr lvl="0"/>
            <a:r>
              <a:rPr lang="en-US"/>
              <a:t>Edit Master text styles</a:t>
            </a:r>
          </a:p>
        </p:txBody>
      </p:sp>
    </p:spTree>
    <p:extLst>
      <p:ext uri="{BB962C8B-B14F-4D97-AF65-F5344CB8AC3E}">
        <p14:creationId xmlns:p14="http://schemas.microsoft.com/office/powerpoint/2010/main" val="2436870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1768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5467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1883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305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947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290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7" tIns="45727" rIns="45727" bIns="45727" numCol="1" spcCol="0" rtlCol="0" fromWordArt="0" anchor="ctr" anchorCtr="0" forceAA="0" compatLnSpc="1">
            <a:prstTxWarp prst="textNoShape">
              <a:avLst/>
            </a:prstTxWarp>
            <a:noAutofit/>
          </a:bodyPr>
          <a:lstStyle/>
          <a:p>
            <a:pPr algn="ctr" defTabSz="91430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2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31483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1"/>
            <a:ext cx="11623331" cy="395317"/>
          </a:xfrm>
          <a:prstGeom prst="rect">
            <a:avLst/>
          </a:prstGeom>
          <a:noFill/>
          <a:ln w="12700">
            <a:noFill/>
            <a:miter lim="800000"/>
            <a:headEnd type="none" w="sm" len="sm"/>
            <a:tailEnd type="none" w="sm" len="sm"/>
          </a:ln>
          <a:effectLst/>
        </p:spPr>
        <p:txBody>
          <a:bodyPr vert="horz" wrap="square" lIns="179306" tIns="143444" rIns="179306" bIns="143444" numCol="1" anchor="t" anchorCtr="0" compatLnSpc="1">
            <a:prstTxWarp prst="textNoShape">
              <a:avLst/>
            </a:prstTxWarp>
            <a:spAutoFit/>
          </a:bodyPr>
          <a:lstStyle/>
          <a:p>
            <a:pPr defTabSz="914121"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9340659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851" indent="-284851">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63" indent="-275513">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15" indent="-28485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59" indent="-22414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503" indent="-22414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35616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16013" y="1647570"/>
            <a:ext cx="11359978"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15925" y="1144588"/>
            <a:ext cx="11360150" cy="724246"/>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3058" y="117175"/>
            <a:ext cx="1097280" cy="232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87025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8050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20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9" y="4518928"/>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3" y="3377106"/>
            <a:ext cx="6275850" cy="827791"/>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98"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1" y="243545"/>
            <a:ext cx="1629151" cy="599358"/>
          </a:xfrm>
          <a:prstGeom prst="rect">
            <a:avLst/>
          </a:prstGeom>
        </p:spPr>
      </p:pic>
    </p:spTree>
    <p:extLst>
      <p:ext uri="{BB962C8B-B14F-4D97-AF65-F5344CB8AC3E}">
        <p14:creationId xmlns:p14="http://schemas.microsoft.com/office/powerpoint/2010/main" val="361867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3873671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xmlns=""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xmlns=""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5236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263657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3673578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342352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79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511248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436369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38871824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596991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642667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8190231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18" Type="http://schemas.openxmlformats.org/officeDocument/2006/relationships/slideLayout" Target="../slideLayouts/slideLayout400.xml"/><Relationship Id="rId26" Type="http://schemas.openxmlformats.org/officeDocument/2006/relationships/theme" Target="../theme/theme10.xml"/><Relationship Id="rId3" Type="http://schemas.openxmlformats.org/officeDocument/2006/relationships/slideLayout" Target="../slideLayouts/slideLayout385.xml"/><Relationship Id="rId21" Type="http://schemas.openxmlformats.org/officeDocument/2006/relationships/slideLayout" Target="../slideLayouts/slideLayout403.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slideLayout" Target="../slideLayouts/slideLayout399.xml"/><Relationship Id="rId25" Type="http://schemas.openxmlformats.org/officeDocument/2006/relationships/slideLayout" Target="../slideLayouts/slideLayout407.xml"/><Relationship Id="rId2" Type="http://schemas.openxmlformats.org/officeDocument/2006/relationships/slideLayout" Target="../slideLayouts/slideLayout384.xml"/><Relationship Id="rId16" Type="http://schemas.openxmlformats.org/officeDocument/2006/relationships/slideLayout" Target="../slideLayouts/slideLayout398.xml"/><Relationship Id="rId20" Type="http://schemas.openxmlformats.org/officeDocument/2006/relationships/slideLayout" Target="../slideLayouts/slideLayout402.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slideLayout" Target="../slideLayouts/slideLayout406.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23" Type="http://schemas.openxmlformats.org/officeDocument/2006/relationships/slideLayout" Target="../slideLayouts/slideLayout405.xml"/><Relationship Id="rId10" Type="http://schemas.openxmlformats.org/officeDocument/2006/relationships/slideLayout" Target="../slideLayouts/slideLayout392.xml"/><Relationship Id="rId19" Type="http://schemas.openxmlformats.org/officeDocument/2006/relationships/slideLayout" Target="../slideLayouts/slideLayout401.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 Id="rId22" Type="http://schemas.openxmlformats.org/officeDocument/2006/relationships/slideLayout" Target="../slideLayouts/slideLayout404.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image" Target="../media/image1.emf"/><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theme" Target="../theme/theme11.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424.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450.xml"/><Relationship Id="rId21" Type="http://schemas.openxmlformats.org/officeDocument/2006/relationships/slideLayout" Target="../slideLayouts/slideLayout445.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63" Type="http://schemas.openxmlformats.org/officeDocument/2006/relationships/slideLayout" Target="../slideLayouts/slideLayout487.xml"/><Relationship Id="rId68" Type="http://schemas.openxmlformats.org/officeDocument/2006/relationships/slideLayout" Target="../slideLayouts/slideLayout492.xml"/><Relationship Id="rId84" Type="http://schemas.openxmlformats.org/officeDocument/2006/relationships/slideLayout" Target="../slideLayouts/slideLayout508.xml"/><Relationship Id="rId89" Type="http://schemas.openxmlformats.org/officeDocument/2006/relationships/theme" Target="../theme/theme13.xml"/><Relationship Id="rId16" Type="http://schemas.openxmlformats.org/officeDocument/2006/relationships/slideLayout" Target="../slideLayouts/slideLayout440.xml"/><Relationship Id="rId11" Type="http://schemas.openxmlformats.org/officeDocument/2006/relationships/slideLayout" Target="../slideLayouts/slideLayout435.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53" Type="http://schemas.openxmlformats.org/officeDocument/2006/relationships/slideLayout" Target="../slideLayouts/slideLayout477.xml"/><Relationship Id="rId58" Type="http://schemas.openxmlformats.org/officeDocument/2006/relationships/slideLayout" Target="../slideLayouts/slideLayout482.xml"/><Relationship Id="rId74" Type="http://schemas.openxmlformats.org/officeDocument/2006/relationships/slideLayout" Target="../slideLayouts/slideLayout498.xml"/><Relationship Id="rId79" Type="http://schemas.openxmlformats.org/officeDocument/2006/relationships/slideLayout" Target="../slideLayouts/slideLayout503.xml"/><Relationship Id="rId5" Type="http://schemas.openxmlformats.org/officeDocument/2006/relationships/slideLayout" Target="../slideLayouts/slideLayout429.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43" Type="http://schemas.openxmlformats.org/officeDocument/2006/relationships/slideLayout" Target="../slideLayouts/slideLayout467.xml"/><Relationship Id="rId48" Type="http://schemas.openxmlformats.org/officeDocument/2006/relationships/slideLayout" Target="../slideLayouts/slideLayout472.xml"/><Relationship Id="rId56" Type="http://schemas.openxmlformats.org/officeDocument/2006/relationships/slideLayout" Target="../slideLayouts/slideLayout480.xml"/><Relationship Id="rId64" Type="http://schemas.openxmlformats.org/officeDocument/2006/relationships/slideLayout" Target="../slideLayouts/slideLayout488.xml"/><Relationship Id="rId69" Type="http://schemas.openxmlformats.org/officeDocument/2006/relationships/slideLayout" Target="../slideLayouts/slideLayout493.xml"/><Relationship Id="rId77" Type="http://schemas.openxmlformats.org/officeDocument/2006/relationships/slideLayout" Target="../slideLayouts/slideLayout501.xml"/><Relationship Id="rId8" Type="http://schemas.openxmlformats.org/officeDocument/2006/relationships/slideLayout" Target="../slideLayouts/slideLayout432.xml"/><Relationship Id="rId51" Type="http://schemas.openxmlformats.org/officeDocument/2006/relationships/slideLayout" Target="../slideLayouts/slideLayout475.xml"/><Relationship Id="rId72" Type="http://schemas.openxmlformats.org/officeDocument/2006/relationships/slideLayout" Target="../slideLayouts/slideLayout496.xml"/><Relationship Id="rId80" Type="http://schemas.openxmlformats.org/officeDocument/2006/relationships/slideLayout" Target="../slideLayouts/slideLayout504.xml"/><Relationship Id="rId85" Type="http://schemas.openxmlformats.org/officeDocument/2006/relationships/slideLayout" Target="../slideLayouts/slideLayout509.xml"/><Relationship Id="rId3" Type="http://schemas.openxmlformats.org/officeDocument/2006/relationships/slideLayout" Target="../slideLayouts/slideLayout427.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46" Type="http://schemas.openxmlformats.org/officeDocument/2006/relationships/slideLayout" Target="../slideLayouts/slideLayout470.xml"/><Relationship Id="rId59" Type="http://schemas.openxmlformats.org/officeDocument/2006/relationships/slideLayout" Target="../slideLayouts/slideLayout483.xml"/><Relationship Id="rId67" Type="http://schemas.openxmlformats.org/officeDocument/2006/relationships/slideLayout" Target="../slideLayouts/slideLayout491.xml"/><Relationship Id="rId20" Type="http://schemas.openxmlformats.org/officeDocument/2006/relationships/slideLayout" Target="../slideLayouts/slideLayout444.xml"/><Relationship Id="rId41" Type="http://schemas.openxmlformats.org/officeDocument/2006/relationships/slideLayout" Target="../slideLayouts/slideLayout465.xml"/><Relationship Id="rId54" Type="http://schemas.openxmlformats.org/officeDocument/2006/relationships/slideLayout" Target="../slideLayouts/slideLayout478.xml"/><Relationship Id="rId62" Type="http://schemas.openxmlformats.org/officeDocument/2006/relationships/slideLayout" Target="../slideLayouts/slideLayout486.xml"/><Relationship Id="rId70" Type="http://schemas.openxmlformats.org/officeDocument/2006/relationships/slideLayout" Target="../slideLayouts/slideLayout494.xml"/><Relationship Id="rId75" Type="http://schemas.openxmlformats.org/officeDocument/2006/relationships/slideLayout" Target="../slideLayouts/slideLayout499.xml"/><Relationship Id="rId83" Type="http://schemas.openxmlformats.org/officeDocument/2006/relationships/slideLayout" Target="../slideLayouts/slideLayout507.xml"/><Relationship Id="rId88" Type="http://schemas.openxmlformats.org/officeDocument/2006/relationships/slideLayout" Target="../slideLayouts/slideLayout512.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slideLayout" Target="../slideLayouts/slideLayout473.xml"/><Relationship Id="rId57" Type="http://schemas.openxmlformats.org/officeDocument/2006/relationships/slideLayout" Target="../slideLayouts/slideLayout481.xml"/><Relationship Id="rId10" Type="http://schemas.openxmlformats.org/officeDocument/2006/relationships/slideLayout" Target="../slideLayouts/slideLayout434.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52" Type="http://schemas.openxmlformats.org/officeDocument/2006/relationships/slideLayout" Target="../slideLayouts/slideLayout476.xml"/><Relationship Id="rId60" Type="http://schemas.openxmlformats.org/officeDocument/2006/relationships/slideLayout" Target="../slideLayouts/slideLayout484.xml"/><Relationship Id="rId65" Type="http://schemas.openxmlformats.org/officeDocument/2006/relationships/slideLayout" Target="../slideLayouts/slideLayout489.xml"/><Relationship Id="rId73" Type="http://schemas.openxmlformats.org/officeDocument/2006/relationships/slideLayout" Target="../slideLayouts/slideLayout497.xml"/><Relationship Id="rId78" Type="http://schemas.openxmlformats.org/officeDocument/2006/relationships/slideLayout" Target="../slideLayouts/slideLayout502.xml"/><Relationship Id="rId81" Type="http://schemas.openxmlformats.org/officeDocument/2006/relationships/slideLayout" Target="../slideLayouts/slideLayout505.xml"/><Relationship Id="rId86" Type="http://schemas.openxmlformats.org/officeDocument/2006/relationships/slideLayout" Target="../slideLayouts/slideLayout510.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9" Type="http://schemas.openxmlformats.org/officeDocument/2006/relationships/slideLayout" Target="../slideLayouts/slideLayout463.xml"/><Relationship Id="rId34" Type="http://schemas.openxmlformats.org/officeDocument/2006/relationships/slideLayout" Target="../slideLayouts/slideLayout458.xml"/><Relationship Id="rId50" Type="http://schemas.openxmlformats.org/officeDocument/2006/relationships/slideLayout" Target="../slideLayouts/slideLayout474.xml"/><Relationship Id="rId55" Type="http://schemas.openxmlformats.org/officeDocument/2006/relationships/slideLayout" Target="../slideLayouts/slideLayout479.xml"/><Relationship Id="rId76" Type="http://schemas.openxmlformats.org/officeDocument/2006/relationships/slideLayout" Target="../slideLayouts/slideLayout500.xml"/><Relationship Id="rId7" Type="http://schemas.openxmlformats.org/officeDocument/2006/relationships/slideLayout" Target="../slideLayouts/slideLayout431.xml"/><Relationship Id="rId71" Type="http://schemas.openxmlformats.org/officeDocument/2006/relationships/slideLayout" Target="../slideLayouts/slideLayout495.xml"/><Relationship Id="rId2" Type="http://schemas.openxmlformats.org/officeDocument/2006/relationships/slideLayout" Target="../slideLayouts/slideLayout426.xml"/><Relationship Id="rId29" Type="http://schemas.openxmlformats.org/officeDocument/2006/relationships/slideLayout" Target="../slideLayouts/slideLayout453.xml"/><Relationship Id="rId24" Type="http://schemas.openxmlformats.org/officeDocument/2006/relationships/slideLayout" Target="../slideLayouts/slideLayout448.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66" Type="http://schemas.openxmlformats.org/officeDocument/2006/relationships/slideLayout" Target="../slideLayouts/slideLayout490.xml"/><Relationship Id="rId87" Type="http://schemas.openxmlformats.org/officeDocument/2006/relationships/slideLayout" Target="../slideLayouts/slideLayout511.xml"/><Relationship Id="rId61" Type="http://schemas.openxmlformats.org/officeDocument/2006/relationships/slideLayout" Target="../slideLayouts/slideLayout485.xml"/><Relationship Id="rId82" Type="http://schemas.openxmlformats.org/officeDocument/2006/relationships/slideLayout" Target="../slideLayouts/slideLayout506.xml"/><Relationship Id="rId19" Type="http://schemas.openxmlformats.org/officeDocument/2006/relationships/slideLayout" Target="../slideLayouts/slideLayout44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26" Type="http://schemas.openxmlformats.org/officeDocument/2006/relationships/image" Target="../media/image1.emf"/><Relationship Id="rId3" Type="http://schemas.openxmlformats.org/officeDocument/2006/relationships/slideLayout" Target="../slideLayouts/slideLayout515.xml"/><Relationship Id="rId21" Type="http://schemas.openxmlformats.org/officeDocument/2006/relationships/slideLayout" Target="../slideLayouts/slideLayout533.xml"/><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5" Type="http://schemas.openxmlformats.org/officeDocument/2006/relationships/theme" Target="../theme/theme14.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0" Type="http://schemas.openxmlformats.org/officeDocument/2006/relationships/slideLayout" Target="../slideLayouts/slideLayout532.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24" Type="http://schemas.openxmlformats.org/officeDocument/2006/relationships/slideLayout" Target="../slideLayouts/slideLayout536.xml"/><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slideLayout" Target="../slideLayouts/slideLayout535.xml"/><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slideLayout" Target="../slideLayouts/slideLayout53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slideLayout" Target="../slideLayouts/slideLayout554.xml"/><Relationship Id="rId26" Type="http://schemas.openxmlformats.org/officeDocument/2006/relationships/slideLayout" Target="../slideLayouts/slideLayout562.xml"/><Relationship Id="rId3" Type="http://schemas.openxmlformats.org/officeDocument/2006/relationships/slideLayout" Target="../slideLayouts/slideLayout539.xml"/><Relationship Id="rId21" Type="http://schemas.openxmlformats.org/officeDocument/2006/relationships/slideLayout" Target="../slideLayouts/slideLayout557.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5" Type="http://schemas.openxmlformats.org/officeDocument/2006/relationships/slideLayout" Target="../slideLayouts/slideLayout561.xml"/><Relationship Id="rId2" Type="http://schemas.openxmlformats.org/officeDocument/2006/relationships/slideLayout" Target="../slideLayouts/slideLayout538.xml"/><Relationship Id="rId16" Type="http://schemas.openxmlformats.org/officeDocument/2006/relationships/slideLayout" Target="../slideLayouts/slideLayout552.xml"/><Relationship Id="rId20" Type="http://schemas.openxmlformats.org/officeDocument/2006/relationships/slideLayout" Target="../slideLayouts/slideLayout556.xml"/><Relationship Id="rId29" Type="http://schemas.openxmlformats.org/officeDocument/2006/relationships/slideLayout" Target="../slideLayouts/slideLayout565.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24" Type="http://schemas.openxmlformats.org/officeDocument/2006/relationships/slideLayout" Target="../slideLayouts/slideLayout560.xml"/><Relationship Id="rId32" Type="http://schemas.openxmlformats.org/officeDocument/2006/relationships/image" Target="../media/image1.emf"/><Relationship Id="rId5" Type="http://schemas.openxmlformats.org/officeDocument/2006/relationships/slideLayout" Target="../slideLayouts/slideLayout541.xml"/><Relationship Id="rId15" Type="http://schemas.openxmlformats.org/officeDocument/2006/relationships/slideLayout" Target="../slideLayouts/slideLayout551.xml"/><Relationship Id="rId23" Type="http://schemas.openxmlformats.org/officeDocument/2006/relationships/slideLayout" Target="../slideLayouts/slideLayout559.xml"/><Relationship Id="rId28" Type="http://schemas.openxmlformats.org/officeDocument/2006/relationships/slideLayout" Target="../slideLayouts/slideLayout564.xml"/><Relationship Id="rId10" Type="http://schemas.openxmlformats.org/officeDocument/2006/relationships/slideLayout" Target="../slideLayouts/slideLayout546.xml"/><Relationship Id="rId19" Type="http://schemas.openxmlformats.org/officeDocument/2006/relationships/slideLayout" Target="../slideLayouts/slideLayout555.xml"/><Relationship Id="rId31" Type="http://schemas.openxmlformats.org/officeDocument/2006/relationships/theme" Target="../theme/theme15.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 Id="rId22" Type="http://schemas.openxmlformats.org/officeDocument/2006/relationships/slideLayout" Target="../slideLayouts/slideLayout558.xml"/><Relationship Id="rId27" Type="http://schemas.openxmlformats.org/officeDocument/2006/relationships/slideLayout" Target="../slideLayouts/slideLayout563.xml"/><Relationship Id="rId30" Type="http://schemas.openxmlformats.org/officeDocument/2006/relationships/slideLayout" Target="../slideLayouts/slideLayout5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74.xml"/><Relationship Id="rId3" Type="http://schemas.openxmlformats.org/officeDocument/2006/relationships/slideLayout" Target="../slideLayouts/slideLayout569.xml"/><Relationship Id="rId7" Type="http://schemas.openxmlformats.org/officeDocument/2006/relationships/slideLayout" Target="../slideLayouts/slideLayout573.xml"/><Relationship Id="rId12" Type="http://schemas.openxmlformats.org/officeDocument/2006/relationships/theme" Target="../theme/theme16.xml"/><Relationship Id="rId2" Type="http://schemas.openxmlformats.org/officeDocument/2006/relationships/slideLayout" Target="../slideLayouts/slideLayout568.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slideLayout" Target="../slideLayouts/slideLayout577.xml"/><Relationship Id="rId5" Type="http://schemas.openxmlformats.org/officeDocument/2006/relationships/slideLayout" Target="../slideLayouts/slideLayout571.xml"/><Relationship Id="rId10" Type="http://schemas.openxmlformats.org/officeDocument/2006/relationships/slideLayout" Target="../slideLayouts/slideLayout576.xml"/><Relationship Id="rId4" Type="http://schemas.openxmlformats.org/officeDocument/2006/relationships/slideLayout" Target="../slideLayouts/slideLayout570.xml"/><Relationship Id="rId9" Type="http://schemas.openxmlformats.org/officeDocument/2006/relationships/slideLayout" Target="../slideLayouts/slideLayout5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20.pn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theme" Target="../theme/theme3.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8"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image" Target="../media/image25.png"/><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theme" Target="../theme/theme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8"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image" Target="../media/image53.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theme" Target="../theme/theme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image" Target="../media/image53.emf"/></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01.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slideLayout" Target="../slideLayouts/slideLayout222.xml"/><Relationship Id="rId50" Type="http://schemas.openxmlformats.org/officeDocument/2006/relationships/slideLayout" Target="../slideLayouts/slideLayout225.xml"/><Relationship Id="rId55" Type="http://schemas.openxmlformats.org/officeDocument/2006/relationships/slideLayout" Target="../slideLayouts/slideLayout230.xml"/><Relationship Id="rId63" Type="http://schemas.openxmlformats.org/officeDocument/2006/relationships/slideLayout" Target="../slideLayouts/slideLayout238.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3" Type="http://schemas.openxmlformats.org/officeDocument/2006/relationships/slideLayout" Target="../slideLayouts/slideLayout228.xml"/><Relationship Id="rId58" Type="http://schemas.openxmlformats.org/officeDocument/2006/relationships/slideLayout" Target="../slideLayouts/slideLayout233.xml"/><Relationship Id="rId5" Type="http://schemas.openxmlformats.org/officeDocument/2006/relationships/slideLayout" Target="../slideLayouts/slideLayout180.xml"/><Relationship Id="rId61" Type="http://schemas.openxmlformats.org/officeDocument/2006/relationships/slideLayout" Target="../slideLayouts/slideLayout236.xml"/><Relationship Id="rId19" Type="http://schemas.openxmlformats.org/officeDocument/2006/relationships/slideLayout" Target="../slideLayouts/slideLayout19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48" Type="http://schemas.openxmlformats.org/officeDocument/2006/relationships/slideLayout" Target="../slideLayouts/slideLayout223.xml"/><Relationship Id="rId56" Type="http://schemas.openxmlformats.org/officeDocument/2006/relationships/slideLayout" Target="../slideLayouts/slideLayout231.xml"/><Relationship Id="rId64" Type="http://schemas.openxmlformats.org/officeDocument/2006/relationships/slideLayout" Target="../slideLayouts/slideLayout239.xml"/><Relationship Id="rId8" Type="http://schemas.openxmlformats.org/officeDocument/2006/relationships/slideLayout" Target="../slideLayouts/slideLayout183.xml"/><Relationship Id="rId51" Type="http://schemas.openxmlformats.org/officeDocument/2006/relationships/slideLayout" Target="../slideLayouts/slideLayout226.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59" Type="http://schemas.openxmlformats.org/officeDocument/2006/relationships/slideLayout" Target="../slideLayouts/slideLayout234.xml"/><Relationship Id="rId20" Type="http://schemas.openxmlformats.org/officeDocument/2006/relationships/slideLayout" Target="../slideLayouts/slideLayout195.xml"/><Relationship Id="rId41" Type="http://schemas.openxmlformats.org/officeDocument/2006/relationships/slideLayout" Target="../slideLayouts/slideLayout216.xml"/><Relationship Id="rId54" Type="http://schemas.openxmlformats.org/officeDocument/2006/relationships/slideLayout" Target="../slideLayouts/slideLayout229.xml"/><Relationship Id="rId62" Type="http://schemas.openxmlformats.org/officeDocument/2006/relationships/slideLayout" Target="../slideLayouts/slideLayout23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49" Type="http://schemas.openxmlformats.org/officeDocument/2006/relationships/slideLayout" Target="../slideLayouts/slideLayout224.xml"/><Relationship Id="rId57" Type="http://schemas.openxmlformats.org/officeDocument/2006/relationships/slideLayout" Target="../slideLayouts/slideLayout232.xml"/><Relationship Id="rId10" Type="http://schemas.openxmlformats.org/officeDocument/2006/relationships/slideLayout" Target="../slideLayouts/slideLayout185.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52" Type="http://schemas.openxmlformats.org/officeDocument/2006/relationships/slideLayout" Target="../slideLayouts/slideLayout227.xml"/><Relationship Id="rId60" Type="http://schemas.openxmlformats.org/officeDocument/2006/relationships/slideLayout" Target="../slideLayouts/slideLayout235.xml"/><Relationship Id="rId65" Type="http://schemas.openxmlformats.org/officeDocument/2006/relationships/theme" Target="../theme/theme7.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9" Type="http://schemas.openxmlformats.org/officeDocument/2006/relationships/slideLayout" Target="../slideLayouts/slideLayout21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65.xml"/><Relationship Id="rId21" Type="http://schemas.openxmlformats.org/officeDocument/2006/relationships/slideLayout" Target="../slideLayouts/slideLayout260.xml"/><Relationship Id="rId42" Type="http://schemas.openxmlformats.org/officeDocument/2006/relationships/slideLayout" Target="../slideLayouts/slideLayout281.xml"/><Relationship Id="rId47" Type="http://schemas.openxmlformats.org/officeDocument/2006/relationships/slideLayout" Target="../slideLayouts/slideLayout286.xml"/><Relationship Id="rId63" Type="http://schemas.openxmlformats.org/officeDocument/2006/relationships/slideLayout" Target="../slideLayouts/slideLayout302.xml"/><Relationship Id="rId68" Type="http://schemas.openxmlformats.org/officeDocument/2006/relationships/slideLayout" Target="../slideLayouts/slideLayout307.xml"/><Relationship Id="rId7" Type="http://schemas.openxmlformats.org/officeDocument/2006/relationships/slideLayout" Target="../slideLayouts/slideLayout24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9" Type="http://schemas.openxmlformats.org/officeDocument/2006/relationships/slideLayout" Target="../slideLayouts/slideLayout268.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37" Type="http://schemas.openxmlformats.org/officeDocument/2006/relationships/slideLayout" Target="../slideLayouts/slideLayout276.xml"/><Relationship Id="rId40" Type="http://schemas.openxmlformats.org/officeDocument/2006/relationships/slideLayout" Target="../slideLayouts/slideLayout279.xml"/><Relationship Id="rId45" Type="http://schemas.openxmlformats.org/officeDocument/2006/relationships/slideLayout" Target="../slideLayouts/slideLayout284.xml"/><Relationship Id="rId53" Type="http://schemas.openxmlformats.org/officeDocument/2006/relationships/slideLayout" Target="../slideLayouts/slideLayout292.xml"/><Relationship Id="rId58" Type="http://schemas.openxmlformats.org/officeDocument/2006/relationships/slideLayout" Target="../slideLayouts/slideLayout297.xml"/><Relationship Id="rId66" Type="http://schemas.openxmlformats.org/officeDocument/2006/relationships/slideLayout" Target="../slideLayouts/slideLayout305.xml"/><Relationship Id="rId5" Type="http://schemas.openxmlformats.org/officeDocument/2006/relationships/slideLayout" Target="../slideLayouts/slideLayout244.xml"/><Relationship Id="rId61" Type="http://schemas.openxmlformats.org/officeDocument/2006/relationships/slideLayout" Target="../slideLayouts/slideLayout300.xml"/><Relationship Id="rId19" Type="http://schemas.openxmlformats.org/officeDocument/2006/relationships/slideLayout" Target="../slideLayouts/slideLayout25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43" Type="http://schemas.openxmlformats.org/officeDocument/2006/relationships/slideLayout" Target="../slideLayouts/slideLayout282.xml"/><Relationship Id="rId48" Type="http://schemas.openxmlformats.org/officeDocument/2006/relationships/slideLayout" Target="../slideLayouts/slideLayout287.xml"/><Relationship Id="rId56" Type="http://schemas.openxmlformats.org/officeDocument/2006/relationships/slideLayout" Target="../slideLayouts/slideLayout295.xml"/><Relationship Id="rId64" Type="http://schemas.openxmlformats.org/officeDocument/2006/relationships/slideLayout" Target="../slideLayouts/slideLayout303.xml"/><Relationship Id="rId69" Type="http://schemas.openxmlformats.org/officeDocument/2006/relationships/theme" Target="../theme/theme8.xml"/><Relationship Id="rId8" Type="http://schemas.openxmlformats.org/officeDocument/2006/relationships/slideLayout" Target="../slideLayouts/slideLayout247.xml"/><Relationship Id="rId51" Type="http://schemas.openxmlformats.org/officeDocument/2006/relationships/slideLayout" Target="../slideLayouts/slideLayout290.xml"/><Relationship Id="rId3" Type="http://schemas.openxmlformats.org/officeDocument/2006/relationships/slideLayout" Target="../slideLayouts/slideLayout242.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38" Type="http://schemas.openxmlformats.org/officeDocument/2006/relationships/slideLayout" Target="../slideLayouts/slideLayout277.xml"/><Relationship Id="rId46" Type="http://schemas.openxmlformats.org/officeDocument/2006/relationships/slideLayout" Target="../slideLayouts/slideLayout285.xml"/><Relationship Id="rId59" Type="http://schemas.openxmlformats.org/officeDocument/2006/relationships/slideLayout" Target="../slideLayouts/slideLayout298.xml"/><Relationship Id="rId67" Type="http://schemas.openxmlformats.org/officeDocument/2006/relationships/slideLayout" Target="../slideLayouts/slideLayout306.xml"/><Relationship Id="rId20" Type="http://schemas.openxmlformats.org/officeDocument/2006/relationships/slideLayout" Target="../slideLayouts/slideLayout259.xml"/><Relationship Id="rId41" Type="http://schemas.openxmlformats.org/officeDocument/2006/relationships/slideLayout" Target="../slideLayouts/slideLayout280.xml"/><Relationship Id="rId54" Type="http://schemas.openxmlformats.org/officeDocument/2006/relationships/slideLayout" Target="../slideLayouts/slideLayout293.xml"/><Relationship Id="rId62" Type="http://schemas.openxmlformats.org/officeDocument/2006/relationships/slideLayout" Target="../slideLayouts/slideLayout30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49" Type="http://schemas.openxmlformats.org/officeDocument/2006/relationships/slideLayout" Target="../slideLayouts/slideLayout288.xml"/><Relationship Id="rId57" Type="http://schemas.openxmlformats.org/officeDocument/2006/relationships/slideLayout" Target="../slideLayouts/slideLayout296.xml"/><Relationship Id="rId10" Type="http://schemas.openxmlformats.org/officeDocument/2006/relationships/slideLayout" Target="../slideLayouts/slideLayout249.xml"/><Relationship Id="rId31" Type="http://schemas.openxmlformats.org/officeDocument/2006/relationships/slideLayout" Target="../slideLayouts/slideLayout270.xml"/><Relationship Id="rId44" Type="http://schemas.openxmlformats.org/officeDocument/2006/relationships/slideLayout" Target="../slideLayouts/slideLayout283.xml"/><Relationship Id="rId52" Type="http://schemas.openxmlformats.org/officeDocument/2006/relationships/slideLayout" Target="../slideLayouts/slideLayout291.xml"/><Relationship Id="rId60" Type="http://schemas.openxmlformats.org/officeDocument/2006/relationships/slideLayout" Target="../slideLayouts/slideLayout299.xml"/><Relationship Id="rId65" Type="http://schemas.openxmlformats.org/officeDocument/2006/relationships/slideLayout" Target="../slideLayouts/slideLayout304.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9" Type="http://schemas.openxmlformats.org/officeDocument/2006/relationships/slideLayout" Target="../slideLayouts/slideLayout278.xml"/><Relationship Id="rId34" Type="http://schemas.openxmlformats.org/officeDocument/2006/relationships/slideLayout" Target="../slideLayouts/slideLayout273.xml"/><Relationship Id="rId50" Type="http://schemas.openxmlformats.org/officeDocument/2006/relationships/slideLayout" Target="../slideLayouts/slideLayout289.xml"/><Relationship Id="rId55" Type="http://schemas.openxmlformats.org/officeDocument/2006/relationships/slideLayout" Target="../slideLayouts/slideLayout29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33.xml"/><Relationship Id="rId21" Type="http://schemas.openxmlformats.org/officeDocument/2006/relationships/slideLayout" Target="../slideLayouts/slideLayout328.xml"/><Relationship Id="rId42" Type="http://schemas.openxmlformats.org/officeDocument/2006/relationships/slideLayout" Target="../slideLayouts/slideLayout349.xml"/><Relationship Id="rId47" Type="http://schemas.openxmlformats.org/officeDocument/2006/relationships/slideLayout" Target="../slideLayouts/slideLayout354.xml"/><Relationship Id="rId63" Type="http://schemas.openxmlformats.org/officeDocument/2006/relationships/slideLayout" Target="../slideLayouts/slideLayout370.xml"/><Relationship Id="rId68" Type="http://schemas.openxmlformats.org/officeDocument/2006/relationships/slideLayout" Target="../slideLayouts/slideLayout375.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9" Type="http://schemas.openxmlformats.org/officeDocument/2006/relationships/slideLayout" Target="../slideLayouts/slideLayout336.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32" Type="http://schemas.openxmlformats.org/officeDocument/2006/relationships/slideLayout" Target="../slideLayouts/slideLayout339.xml"/><Relationship Id="rId37" Type="http://schemas.openxmlformats.org/officeDocument/2006/relationships/slideLayout" Target="../slideLayouts/slideLayout344.xml"/><Relationship Id="rId40" Type="http://schemas.openxmlformats.org/officeDocument/2006/relationships/slideLayout" Target="../slideLayouts/slideLayout347.xml"/><Relationship Id="rId45" Type="http://schemas.openxmlformats.org/officeDocument/2006/relationships/slideLayout" Target="../slideLayouts/slideLayout352.xml"/><Relationship Id="rId53" Type="http://schemas.openxmlformats.org/officeDocument/2006/relationships/slideLayout" Target="../slideLayouts/slideLayout360.xml"/><Relationship Id="rId58" Type="http://schemas.openxmlformats.org/officeDocument/2006/relationships/slideLayout" Target="../slideLayouts/slideLayout365.xml"/><Relationship Id="rId66" Type="http://schemas.openxmlformats.org/officeDocument/2006/relationships/slideLayout" Target="../slideLayouts/slideLayout373.xml"/><Relationship Id="rId74" Type="http://schemas.openxmlformats.org/officeDocument/2006/relationships/slideLayout" Target="../slideLayouts/slideLayout381.xml"/><Relationship Id="rId5" Type="http://schemas.openxmlformats.org/officeDocument/2006/relationships/slideLayout" Target="../slideLayouts/slideLayout312.xml"/><Relationship Id="rId61" Type="http://schemas.openxmlformats.org/officeDocument/2006/relationships/slideLayout" Target="../slideLayouts/slideLayout368.xml"/><Relationship Id="rId19" Type="http://schemas.openxmlformats.org/officeDocument/2006/relationships/slideLayout" Target="../slideLayouts/slideLayout32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slideLayout" Target="../slideLayouts/slideLayout334.xml"/><Relationship Id="rId30" Type="http://schemas.openxmlformats.org/officeDocument/2006/relationships/slideLayout" Target="../slideLayouts/slideLayout337.xml"/><Relationship Id="rId35" Type="http://schemas.openxmlformats.org/officeDocument/2006/relationships/slideLayout" Target="../slideLayouts/slideLayout342.xml"/><Relationship Id="rId43" Type="http://schemas.openxmlformats.org/officeDocument/2006/relationships/slideLayout" Target="../slideLayouts/slideLayout350.xml"/><Relationship Id="rId48" Type="http://schemas.openxmlformats.org/officeDocument/2006/relationships/slideLayout" Target="../slideLayouts/slideLayout355.xml"/><Relationship Id="rId56" Type="http://schemas.openxmlformats.org/officeDocument/2006/relationships/slideLayout" Target="../slideLayouts/slideLayout363.xml"/><Relationship Id="rId64" Type="http://schemas.openxmlformats.org/officeDocument/2006/relationships/slideLayout" Target="../slideLayouts/slideLayout371.xml"/><Relationship Id="rId69" Type="http://schemas.openxmlformats.org/officeDocument/2006/relationships/slideLayout" Target="../slideLayouts/slideLayout376.xml"/><Relationship Id="rId8" Type="http://schemas.openxmlformats.org/officeDocument/2006/relationships/slideLayout" Target="../slideLayouts/slideLayout315.xml"/><Relationship Id="rId51" Type="http://schemas.openxmlformats.org/officeDocument/2006/relationships/slideLayout" Target="../slideLayouts/slideLayout358.xml"/><Relationship Id="rId72" Type="http://schemas.openxmlformats.org/officeDocument/2006/relationships/slideLayout" Target="../slideLayouts/slideLayout379.xml"/><Relationship Id="rId3" Type="http://schemas.openxmlformats.org/officeDocument/2006/relationships/slideLayout" Target="../slideLayouts/slideLayout310.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33" Type="http://schemas.openxmlformats.org/officeDocument/2006/relationships/slideLayout" Target="../slideLayouts/slideLayout340.xml"/><Relationship Id="rId38" Type="http://schemas.openxmlformats.org/officeDocument/2006/relationships/slideLayout" Target="../slideLayouts/slideLayout345.xml"/><Relationship Id="rId46" Type="http://schemas.openxmlformats.org/officeDocument/2006/relationships/slideLayout" Target="../slideLayouts/slideLayout353.xml"/><Relationship Id="rId59" Type="http://schemas.openxmlformats.org/officeDocument/2006/relationships/slideLayout" Target="../slideLayouts/slideLayout366.xml"/><Relationship Id="rId67" Type="http://schemas.openxmlformats.org/officeDocument/2006/relationships/slideLayout" Target="../slideLayouts/slideLayout374.xml"/><Relationship Id="rId20" Type="http://schemas.openxmlformats.org/officeDocument/2006/relationships/slideLayout" Target="../slideLayouts/slideLayout327.xml"/><Relationship Id="rId41" Type="http://schemas.openxmlformats.org/officeDocument/2006/relationships/slideLayout" Target="../slideLayouts/slideLayout348.xml"/><Relationship Id="rId54" Type="http://schemas.openxmlformats.org/officeDocument/2006/relationships/slideLayout" Target="../slideLayouts/slideLayout361.xml"/><Relationship Id="rId62" Type="http://schemas.openxmlformats.org/officeDocument/2006/relationships/slideLayout" Target="../slideLayouts/slideLayout369.xml"/><Relationship Id="rId70" Type="http://schemas.openxmlformats.org/officeDocument/2006/relationships/slideLayout" Target="../slideLayouts/slideLayout377.xml"/><Relationship Id="rId75" Type="http://schemas.openxmlformats.org/officeDocument/2006/relationships/slideLayout" Target="../slideLayouts/slideLayout382.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28" Type="http://schemas.openxmlformats.org/officeDocument/2006/relationships/slideLayout" Target="../slideLayouts/slideLayout335.xml"/><Relationship Id="rId36" Type="http://schemas.openxmlformats.org/officeDocument/2006/relationships/slideLayout" Target="../slideLayouts/slideLayout343.xml"/><Relationship Id="rId49" Type="http://schemas.openxmlformats.org/officeDocument/2006/relationships/slideLayout" Target="../slideLayouts/slideLayout356.xml"/><Relationship Id="rId57" Type="http://schemas.openxmlformats.org/officeDocument/2006/relationships/slideLayout" Target="../slideLayouts/slideLayout364.xml"/><Relationship Id="rId10" Type="http://schemas.openxmlformats.org/officeDocument/2006/relationships/slideLayout" Target="../slideLayouts/slideLayout317.xml"/><Relationship Id="rId31" Type="http://schemas.openxmlformats.org/officeDocument/2006/relationships/slideLayout" Target="../slideLayouts/slideLayout338.xml"/><Relationship Id="rId44" Type="http://schemas.openxmlformats.org/officeDocument/2006/relationships/slideLayout" Target="../slideLayouts/slideLayout351.xml"/><Relationship Id="rId52" Type="http://schemas.openxmlformats.org/officeDocument/2006/relationships/slideLayout" Target="../slideLayouts/slideLayout359.xml"/><Relationship Id="rId60" Type="http://schemas.openxmlformats.org/officeDocument/2006/relationships/slideLayout" Target="../slideLayouts/slideLayout367.xml"/><Relationship Id="rId65" Type="http://schemas.openxmlformats.org/officeDocument/2006/relationships/slideLayout" Target="../slideLayouts/slideLayout372.xml"/><Relationship Id="rId73" Type="http://schemas.openxmlformats.org/officeDocument/2006/relationships/slideLayout" Target="../slideLayouts/slideLayout380.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9" Type="http://schemas.openxmlformats.org/officeDocument/2006/relationships/slideLayout" Target="../slideLayouts/slideLayout346.xml"/><Relationship Id="rId34" Type="http://schemas.openxmlformats.org/officeDocument/2006/relationships/slideLayout" Target="../slideLayouts/slideLayout341.xml"/><Relationship Id="rId50" Type="http://schemas.openxmlformats.org/officeDocument/2006/relationships/slideLayout" Target="../slideLayouts/slideLayout357.xml"/><Relationship Id="rId55" Type="http://schemas.openxmlformats.org/officeDocument/2006/relationships/slideLayout" Target="../slideLayouts/slideLayout362.xml"/><Relationship Id="rId76" Type="http://schemas.openxmlformats.org/officeDocument/2006/relationships/theme" Target="../theme/theme9.xml"/><Relationship Id="rId7" Type="http://schemas.openxmlformats.org/officeDocument/2006/relationships/slideLayout" Target="../slideLayouts/slideLayout314.xml"/><Relationship Id="rId71" Type="http://schemas.openxmlformats.org/officeDocument/2006/relationships/slideLayout" Target="../slideLayouts/slideLayout3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27994834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932" r:id="rId33"/>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25525677"/>
      </p:ext>
    </p:extLst>
  </p:cSld>
  <p:clrMap bg1="dk1" tx1="lt1" bg2="dk2" tx2="lt2" accent1="accent1" accent2="accent2" accent3="accent3" accent4="accent4" accent5="accent5" accent6="accent6" hlink="hlink" folHlink="folHlink"/>
  <p:sldLayoutIdLst>
    <p:sldLayoutId id="2147493751" r:id="rId1"/>
    <p:sldLayoutId id="2147493752" r:id="rId2"/>
    <p:sldLayoutId id="2147493753" r:id="rId3"/>
    <p:sldLayoutId id="2147493754" r:id="rId4"/>
    <p:sldLayoutId id="2147493755" r:id="rId5"/>
    <p:sldLayoutId id="2147493756" r:id="rId6"/>
    <p:sldLayoutId id="2147493757" r:id="rId7"/>
    <p:sldLayoutId id="2147493758" r:id="rId8"/>
    <p:sldLayoutId id="2147493759" r:id="rId9"/>
    <p:sldLayoutId id="2147493760" r:id="rId10"/>
    <p:sldLayoutId id="2147493761" r:id="rId11"/>
    <p:sldLayoutId id="2147493762" r:id="rId12"/>
    <p:sldLayoutId id="2147493763" r:id="rId13"/>
    <p:sldLayoutId id="2147493764" r:id="rId14"/>
    <p:sldLayoutId id="2147493765" r:id="rId15"/>
    <p:sldLayoutId id="2147493766" r:id="rId16"/>
    <p:sldLayoutId id="2147493767" r:id="rId17"/>
    <p:sldLayoutId id="2147493768" r:id="rId18"/>
    <p:sldLayoutId id="2147493769" r:id="rId19"/>
    <p:sldLayoutId id="2147493770" r:id="rId20"/>
    <p:sldLayoutId id="2147493771" r:id="rId21"/>
    <p:sldLayoutId id="2147493772" r:id="rId22"/>
    <p:sldLayoutId id="2147493773" r:id="rId23"/>
    <p:sldLayoutId id="2147493774" r:id="rId24"/>
    <p:sldLayoutId id="2147493775"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1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79452244"/>
      </p:ext>
    </p:extLst>
  </p:cSld>
  <p:clrMap bg1="dk1" tx1="lt1" bg2="dk2" tx2="lt2" accent1="accent1" accent2="accent2" accent3="accent3" accent4="accent4" accent5="accent5" accent6="accent6" hlink="hlink" folHlink="folHlink"/>
  <p:sldLayoutIdLst>
    <p:sldLayoutId id="2147493777" r:id="rId1"/>
    <p:sldLayoutId id="2147493778" r:id="rId2"/>
    <p:sldLayoutId id="2147493779" r:id="rId3"/>
    <p:sldLayoutId id="2147493780" r:id="rId4"/>
    <p:sldLayoutId id="2147493781" r:id="rId5"/>
    <p:sldLayoutId id="2147493782" r:id="rId6"/>
    <p:sldLayoutId id="2147493783" r:id="rId7"/>
    <p:sldLayoutId id="2147493784" r:id="rId8"/>
    <p:sldLayoutId id="2147493785" r:id="rId9"/>
    <p:sldLayoutId id="2147493786" r:id="rId10"/>
    <p:sldLayoutId id="2147493787" r:id="rId11"/>
    <p:sldLayoutId id="2147493788" r:id="rId12"/>
    <p:sldLayoutId id="2147493789" r:id="rId13"/>
    <p:sldLayoutId id="2147493790" r:id="rId14"/>
    <p:sldLayoutId id="2147493791" r:id="rId15"/>
    <p:sldLayoutId id="2147493792"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243228412"/>
      </p:ext>
    </p:extLst>
  </p:cSld>
  <p:clrMap bg1="lt1" tx1="dk1" bg2="lt2" tx2="dk2" accent1="accent1" accent2="accent2" accent3="accent3" accent4="accent4" accent5="accent5" accent6="accent6" hlink="hlink" folHlink="folHlink"/>
  <p:sldLayoutIdLst>
    <p:sldLayoutId id="2147493794" r:id="rId1"/>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374360837"/>
      </p:ext>
    </p:extLst>
  </p:cSld>
  <p:clrMap bg1="lt1" tx1="dk1" bg2="lt2" tx2="dk2" accent1="accent1" accent2="accent2" accent3="accent3" accent4="accent4" accent5="accent5" accent6="accent6" hlink="hlink" folHlink="folHlink"/>
  <p:sldLayoutIdLst>
    <p:sldLayoutId id="2147493796" r:id="rId1"/>
    <p:sldLayoutId id="2147493797" r:id="rId2"/>
    <p:sldLayoutId id="2147493798" r:id="rId3"/>
    <p:sldLayoutId id="2147493799" r:id="rId4"/>
    <p:sldLayoutId id="2147493800" r:id="rId5"/>
    <p:sldLayoutId id="2147493801" r:id="rId6"/>
    <p:sldLayoutId id="2147493802" r:id="rId7"/>
    <p:sldLayoutId id="2147493803" r:id="rId8"/>
    <p:sldLayoutId id="2147493804" r:id="rId9"/>
    <p:sldLayoutId id="2147493805" r:id="rId10"/>
    <p:sldLayoutId id="2147493806" r:id="rId11"/>
    <p:sldLayoutId id="2147493807" r:id="rId12"/>
    <p:sldLayoutId id="2147493808" r:id="rId13"/>
    <p:sldLayoutId id="2147493809" r:id="rId14"/>
    <p:sldLayoutId id="2147493810" r:id="rId15"/>
    <p:sldLayoutId id="2147493811" r:id="rId16"/>
    <p:sldLayoutId id="2147493812" r:id="rId17"/>
    <p:sldLayoutId id="2147493813" r:id="rId18"/>
    <p:sldLayoutId id="2147493814" r:id="rId19"/>
    <p:sldLayoutId id="2147493815" r:id="rId20"/>
    <p:sldLayoutId id="2147493816" r:id="rId21"/>
    <p:sldLayoutId id="2147493817" r:id="rId22"/>
    <p:sldLayoutId id="2147493818" r:id="rId23"/>
    <p:sldLayoutId id="2147493819" r:id="rId24"/>
    <p:sldLayoutId id="2147493820" r:id="rId25"/>
    <p:sldLayoutId id="2147493821" r:id="rId26"/>
    <p:sldLayoutId id="2147493822" r:id="rId27"/>
    <p:sldLayoutId id="2147493823" r:id="rId28"/>
    <p:sldLayoutId id="2147493824" r:id="rId29"/>
    <p:sldLayoutId id="2147493825" r:id="rId30"/>
    <p:sldLayoutId id="2147493826" r:id="rId31"/>
    <p:sldLayoutId id="2147493827" r:id="rId32"/>
    <p:sldLayoutId id="2147493828" r:id="rId33"/>
    <p:sldLayoutId id="2147493829" r:id="rId34"/>
    <p:sldLayoutId id="2147493830" r:id="rId35"/>
    <p:sldLayoutId id="2147493831" r:id="rId36"/>
    <p:sldLayoutId id="2147493832" r:id="rId37"/>
    <p:sldLayoutId id="2147493833" r:id="rId38"/>
    <p:sldLayoutId id="2147493834" r:id="rId39"/>
    <p:sldLayoutId id="2147493835" r:id="rId40"/>
    <p:sldLayoutId id="2147493836" r:id="rId41"/>
    <p:sldLayoutId id="2147493837" r:id="rId42"/>
    <p:sldLayoutId id="2147493838" r:id="rId43"/>
    <p:sldLayoutId id="2147493839" r:id="rId44"/>
    <p:sldLayoutId id="2147493840" r:id="rId45"/>
    <p:sldLayoutId id="2147493841" r:id="rId46"/>
    <p:sldLayoutId id="2147493842" r:id="rId47"/>
    <p:sldLayoutId id="2147493843" r:id="rId48"/>
    <p:sldLayoutId id="2147493844" r:id="rId49"/>
    <p:sldLayoutId id="2147493845" r:id="rId50"/>
    <p:sldLayoutId id="2147493846" r:id="rId51"/>
    <p:sldLayoutId id="2147493847" r:id="rId52"/>
    <p:sldLayoutId id="2147493848" r:id="rId53"/>
    <p:sldLayoutId id="2147493849" r:id="rId54"/>
    <p:sldLayoutId id="2147493850" r:id="rId55"/>
    <p:sldLayoutId id="2147493851" r:id="rId56"/>
    <p:sldLayoutId id="2147493852" r:id="rId57"/>
    <p:sldLayoutId id="2147493853" r:id="rId58"/>
    <p:sldLayoutId id="2147493854" r:id="rId59"/>
    <p:sldLayoutId id="2147493855" r:id="rId60"/>
    <p:sldLayoutId id="2147493856" r:id="rId61"/>
    <p:sldLayoutId id="2147493857" r:id="rId62"/>
    <p:sldLayoutId id="2147493858" r:id="rId63"/>
    <p:sldLayoutId id="2147493859" r:id="rId64"/>
    <p:sldLayoutId id="2147493860" r:id="rId65"/>
    <p:sldLayoutId id="2147493861" r:id="rId66"/>
    <p:sldLayoutId id="2147493862" r:id="rId67"/>
    <p:sldLayoutId id="2147493863" r:id="rId68"/>
    <p:sldLayoutId id="2147493864" r:id="rId69"/>
    <p:sldLayoutId id="2147493865" r:id="rId70"/>
    <p:sldLayoutId id="2147493866" r:id="rId71"/>
    <p:sldLayoutId id="2147493867" r:id="rId72"/>
    <p:sldLayoutId id="2147493868" r:id="rId73"/>
    <p:sldLayoutId id="2147493869" r:id="rId74"/>
    <p:sldLayoutId id="2147493870" r:id="rId75"/>
    <p:sldLayoutId id="2147493871" r:id="rId76"/>
    <p:sldLayoutId id="2147493872" r:id="rId77"/>
    <p:sldLayoutId id="2147493873" r:id="rId78"/>
    <p:sldLayoutId id="2147493874" r:id="rId79"/>
    <p:sldLayoutId id="2147493875" r:id="rId80"/>
    <p:sldLayoutId id="2147493876" r:id="rId81"/>
    <p:sldLayoutId id="2147493877" r:id="rId82"/>
    <p:sldLayoutId id="2147493878" r:id="rId83"/>
    <p:sldLayoutId id="2147493879" r:id="rId84"/>
    <p:sldLayoutId id="2147493880" r:id="rId85"/>
    <p:sldLayoutId id="2147493881" r:id="rId86"/>
    <p:sldLayoutId id="2147493882" r:id="rId87"/>
    <p:sldLayoutId id="2147493883" r:id="rId8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3860429532"/>
      </p:ext>
    </p:extLst>
  </p:cSld>
  <p:clrMap bg1="dk1" tx1="lt1" bg2="dk2" tx2="lt2" accent1="accent1" accent2="accent2" accent3="accent3" accent4="accent4" accent5="accent5" accent6="accent6" hlink="hlink" folHlink="folHlink"/>
  <p:sldLayoutIdLst>
    <p:sldLayoutId id="2147493885" r:id="rId1"/>
    <p:sldLayoutId id="2147493886" r:id="rId2"/>
    <p:sldLayoutId id="2147493887" r:id="rId3"/>
    <p:sldLayoutId id="2147493888" r:id="rId4"/>
    <p:sldLayoutId id="2147493889" r:id="rId5"/>
    <p:sldLayoutId id="2147493890" r:id="rId6"/>
    <p:sldLayoutId id="2147493891" r:id="rId7"/>
    <p:sldLayoutId id="2147493892" r:id="rId8"/>
    <p:sldLayoutId id="2147493893" r:id="rId9"/>
    <p:sldLayoutId id="2147493894" r:id="rId10"/>
    <p:sldLayoutId id="2147493895" r:id="rId11"/>
    <p:sldLayoutId id="2147493896" r:id="rId12"/>
    <p:sldLayoutId id="2147493897" r:id="rId13"/>
    <p:sldLayoutId id="2147493898" r:id="rId14"/>
    <p:sldLayoutId id="2147493899" r:id="rId15"/>
    <p:sldLayoutId id="2147493900" r:id="rId16"/>
    <p:sldLayoutId id="2147493901" r:id="rId17"/>
    <p:sldLayoutId id="2147493902" r:id="rId18"/>
    <p:sldLayoutId id="2147493903" r:id="rId19"/>
    <p:sldLayoutId id="2147493904" r:id="rId20"/>
    <p:sldLayoutId id="2147493905" r:id="rId21"/>
    <p:sldLayoutId id="2147493906" r:id="rId22"/>
    <p:sldLayoutId id="2147493907" r:id="rId23"/>
    <p:sldLayoutId id="2147493908" r:id="rId24"/>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3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67667780"/>
      </p:ext>
    </p:extLst>
  </p:cSld>
  <p:clrMap bg1="dk1" tx1="lt1" bg2="dk2" tx2="lt2" accent1="accent1" accent2="accent2" accent3="accent3" accent4="accent4" accent5="accent5" accent6="accent6" hlink="hlink" folHlink="folHlink"/>
  <p:sldLayoutIdLst>
    <p:sldLayoutId id="2147493623" r:id="rId1"/>
    <p:sldLayoutId id="2147493624" r:id="rId2"/>
    <p:sldLayoutId id="2147493625" r:id="rId3"/>
    <p:sldLayoutId id="2147493626" r:id="rId4"/>
    <p:sldLayoutId id="2147493627" r:id="rId5"/>
    <p:sldLayoutId id="2147493628" r:id="rId6"/>
    <p:sldLayoutId id="2147493629" r:id="rId7"/>
    <p:sldLayoutId id="2147493630" r:id="rId8"/>
    <p:sldLayoutId id="2147493631" r:id="rId9"/>
    <p:sldLayoutId id="2147493632" r:id="rId10"/>
    <p:sldLayoutId id="2147493633" r:id="rId11"/>
    <p:sldLayoutId id="2147493634" r:id="rId12"/>
    <p:sldLayoutId id="2147493635" r:id="rId13"/>
    <p:sldLayoutId id="2147493636" r:id="rId14"/>
    <p:sldLayoutId id="2147493637" r:id="rId15"/>
    <p:sldLayoutId id="2147493638" r:id="rId16"/>
    <p:sldLayoutId id="2147493639" r:id="rId17"/>
    <p:sldLayoutId id="2147493640" r:id="rId18"/>
    <p:sldLayoutId id="2147493641" r:id="rId19"/>
    <p:sldLayoutId id="2147493642" r:id="rId20"/>
    <p:sldLayoutId id="2147493643" r:id="rId21"/>
    <p:sldLayoutId id="2147493644" r:id="rId22"/>
    <p:sldLayoutId id="2147493645" r:id="rId23"/>
    <p:sldLayoutId id="2147493646" r:id="rId24"/>
    <p:sldLayoutId id="2147493647" r:id="rId25"/>
    <p:sldLayoutId id="2147493648" r:id="rId26"/>
    <p:sldLayoutId id="2147493649" r:id="rId27"/>
    <p:sldLayoutId id="2147493650" r:id="rId28"/>
    <p:sldLayoutId id="2147493651" r:id="rId29"/>
    <p:sldLayoutId id="2147493652"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6/23/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1275107928"/>
      </p:ext>
    </p:extLst>
  </p:cSld>
  <p:clrMap bg1="lt1" tx1="dk1" bg2="lt2" tx2="dk2" accent1="accent1" accent2="accent2" accent3="accent3" accent4="accent4" accent5="accent5" accent6="accent6" hlink="hlink" folHlink="folHlink"/>
  <p:sldLayoutIdLst>
    <p:sldLayoutId id="2147493941" r:id="rId1"/>
    <p:sldLayoutId id="2147493942" r:id="rId2"/>
    <p:sldLayoutId id="2147493943" r:id="rId3"/>
    <p:sldLayoutId id="2147493944" r:id="rId4"/>
    <p:sldLayoutId id="2147493945" r:id="rId5"/>
    <p:sldLayoutId id="2147493946" r:id="rId6"/>
    <p:sldLayoutId id="2147493947" r:id="rId7"/>
    <p:sldLayoutId id="2147493948" r:id="rId8"/>
    <p:sldLayoutId id="2147493949" r:id="rId9"/>
    <p:sldLayoutId id="2147493950" r:id="rId10"/>
    <p:sldLayoutId id="2147493951"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70530834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2"/>
            <a:ext cx="11655840" cy="60965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96348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653408" y="6492220"/>
            <a:ext cx="1568944" cy="425495"/>
          </a:xfrm>
          <a:prstGeom prst="rect">
            <a:avLst/>
          </a:prstGeom>
          <a:noFill/>
        </p:spPr>
        <p:txBody>
          <a:bodyPr wrap="square" lIns="179306" tIns="143444" rIns="179306" bIns="143444" rtlCol="0">
            <a:spAutoFit/>
          </a:bodyPr>
          <a:lstStyle/>
          <a:p>
            <a:pPr algn="r">
              <a:lnSpc>
                <a:spcPct val="90000"/>
              </a:lnSpc>
              <a:spcAft>
                <a:spcPts val="588"/>
              </a:spcAft>
            </a:pPr>
            <a:fld id="{E308381E-DE8E-41CE-9FAF-FBB74049FFFE}" type="slidenum">
              <a:rPr lang="en-US" sz="981" smtClean="0">
                <a:solidFill>
                  <a:schemeClr val="bg1">
                    <a:lumMod val="75000"/>
                  </a:schemeClr>
                </a:solidFill>
              </a:rPr>
              <a:pPr algn="r">
                <a:lnSpc>
                  <a:spcPct val="90000"/>
                </a:lnSpc>
                <a:spcAft>
                  <a:spcPts val="588"/>
                </a:spcAft>
              </a:pPr>
              <a:t>‹#›</a:t>
            </a:fld>
            <a:endParaRPr lang="en-US" sz="981" err="1">
              <a:solidFill>
                <a:schemeClr val="bg1">
                  <a:lumMod val="75000"/>
                </a:schemeClr>
              </a:solidFill>
            </a:endParaRPr>
          </a:p>
        </p:txBody>
      </p:sp>
    </p:spTree>
    <p:extLst>
      <p:ext uri="{BB962C8B-B14F-4D97-AF65-F5344CB8AC3E}">
        <p14:creationId xmlns:p14="http://schemas.microsoft.com/office/powerpoint/2010/main" val="30980661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7" r:id="rId30"/>
    <p:sldLayoutId id="2147483818" r:id="rId31"/>
    <p:sldLayoutId id="2147483933" r:id="rId32"/>
  </p:sldLayoutIdLst>
  <p:transition>
    <p:fade/>
  </p:transition>
  <p:hf hdr="0" ftr="0" dt="0"/>
  <p:txStyles>
    <p:titleStyle>
      <a:lvl1pPr algn="l" defTabSz="914565" rtl="0" eaLnBrk="1" latinLnBrk="0" hangingPunct="1">
        <a:lnSpc>
          <a:spcPct val="90000"/>
        </a:lnSpc>
        <a:spcBef>
          <a:spcPct val="0"/>
        </a:spcBef>
        <a:buNone/>
        <a:defRPr lang="en-US" sz="392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7" marR="0" indent="-336217" algn="l" defTabSz="914565"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815" marR="0" indent="-236598" algn="l" defTabSz="91456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508"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52"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97"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52"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335"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617"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900"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65" rtl="0" eaLnBrk="1" latinLnBrk="0" hangingPunct="1">
        <a:defRPr sz="1765" kern="1200">
          <a:solidFill>
            <a:schemeClr val="tx1"/>
          </a:solidFill>
          <a:latin typeface="+mn-lt"/>
          <a:ea typeface="+mn-ea"/>
          <a:cs typeface="+mn-cs"/>
        </a:defRPr>
      </a:lvl1pPr>
      <a:lvl2pPr marL="457283" algn="l" defTabSz="914565" rtl="0" eaLnBrk="1" latinLnBrk="0" hangingPunct="1">
        <a:defRPr sz="1765" kern="1200">
          <a:solidFill>
            <a:schemeClr val="tx1"/>
          </a:solidFill>
          <a:latin typeface="+mn-lt"/>
          <a:ea typeface="+mn-ea"/>
          <a:cs typeface="+mn-cs"/>
        </a:defRPr>
      </a:lvl2pPr>
      <a:lvl3pPr marL="914565" algn="l" defTabSz="914565" rtl="0" eaLnBrk="1" latinLnBrk="0" hangingPunct="1">
        <a:defRPr sz="1765" kern="1200">
          <a:solidFill>
            <a:schemeClr val="tx1"/>
          </a:solidFill>
          <a:latin typeface="+mn-lt"/>
          <a:ea typeface="+mn-ea"/>
          <a:cs typeface="+mn-cs"/>
        </a:defRPr>
      </a:lvl3pPr>
      <a:lvl4pPr marL="1371846" algn="l" defTabSz="914565" rtl="0" eaLnBrk="1" latinLnBrk="0" hangingPunct="1">
        <a:defRPr sz="1765" kern="1200">
          <a:solidFill>
            <a:schemeClr val="tx1"/>
          </a:solidFill>
          <a:latin typeface="+mn-lt"/>
          <a:ea typeface="+mn-ea"/>
          <a:cs typeface="+mn-cs"/>
        </a:defRPr>
      </a:lvl4pPr>
      <a:lvl5pPr marL="1829129" algn="l" defTabSz="914565" rtl="0" eaLnBrk="1" latinLnBrk="0" hangingPunct="1">
        <a:defRPr sz="1765" kern="1200">
          <a:solidFill>
            <a:schemeClr val="tx1"/>
          </a:solidFill>
          <a:latin typeface="+mn-lt"/>
          <a:ea typeface="+mn-ea"/>
          <a:cs typeface="+mn-cs"/>
        </a:defRPr>
      </a:lvl5pPr>
      <a:lvl6pPr marL="2286412" algn="l" defTabSz="914565" rtl="0" eaLnBrk="1" latinLnBrk="0" hangingPunct="1">
        <a:defRPr sz="1765" kern="1200">
          <a:solidFill>
            <a:schemeClr val="tx1"/>
          </a:solidFill>
          <a:latin typeface="+mn-lt"/>
          <a:ea typeface="+mn-ea"/>
          <a:cs typeface="+mn-cs"/>
        </a:defRPr>
      </a:lvl6pPr>
      <a:lvl7pPr marL="2743694" algn="l" defTabSz="914565" rtl="0" eaLnBrk="1" latinLnBrk="0" hangingPunct="1">
        <a:defRPr sz="1765" kern="1200">
          <a:solidFill>
            <a:schemeClr val="tx1"/>
          </a:solidFill>
          <a:latin typeface="+mn-lt"/>
          <a:ea typeface="+mn-ea"/>
          <a:cs typeface="+mn-cs"/>
        </a:defRPr>
      </a:lvl7pPr>
      <a:lvl8pPr marL="3200976" algn="l" defTabSz="914565" rtl="0" eaLnBrk="1" latinLnBrk="0" hangingPunct="1">
        <a:defRPr sz="1765" kern="1200">
          <a:solidFill>
            <a:schemeClr val="tx1"/>
          </a:solidFill>
          <a:latin typeface="+mn-lt"/>
          <a:ea typeface="+mn-ea"/>
          <a:cs typeface="+mn-cs"/>
        </a:defRPr>
      </a:lvl8pPr>
      <a:lvl9pPr marL="3658258" algn="l" defTabSz="91456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78634877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93590" r:id="rId14"/>
    <p:sldLayoutId id="2147493593" r:id="rId15"/>
    <p:sldLayoutId id="2147483835" r:id="rId16"/>
    <p:sldLayoutId id="2147483836" r:id="rId17"/>
    <p:sldLayoutId id="2147483837" r:id="rId18"/>
    <p:sldLayoutId id="2147483838" r:id="rId19"/>
    <p:sldLayoutId id="2147483839" r:id="rId20"/>
    <p:sldLayoutId id="2147483840" r:id="rId21"/>
    <p:sldLayoutId id="2147483841" r:id="rId22"/>
    <p:sldLayoutId id="2147493594" r:id="rId23"/>
    <p:sldLayoutId id="2147493595" r:id="rId24"/>
    <p:sldLayoutId id="2147493596" r:id="rId25"/>
    <p:sldLayoutId id="2147493597" r:id="rId26"/>
    <p:sldLayoutId id="2147493598" r:id="rId27"/>
    <p:sldLayoutId id="2147493599" r:id="rId28"/>
    <p:sldLayoutId id="2147483848" r:id="rId29"/>
    <p:sldLayoutId id="2147493600" r:id="rId30"/>
    <p:sldLayoutId id="2147483850" r:id="rId31"/>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05268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93604" r:id="rId7"/>
    <p:sldLayoutId id="2147483860" r:id="rId8"/>
    <p:sldLayoutId id="2147483861" r:id="rId9"/>
    <p:sldLayoutId id="2147483862" r:id="rId10"/>
    <p:sldLayoutId id="2147493592"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9" r:id="rId26"/>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445482"/>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93591"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2872774"/>
      </p:ext>
    </p:extLst>
  </p:cSld>
  <p:clrMap bg1="lt1" tx1="dk1" bg2="lt2" tx2="dk2" accent1="accent1" accent2="accent2" accent3="accent3" accent4="accent4" accent5="accent5" accent6="accent6" hlink="hlink" folHlink="folHlink"/>
  <p:sldLayoutIdLst>
    <p:sldLayoutId id="2147489178" r:id="rId1"/>
    <p:sldLayoutId id="2147483905" r:id="rId2"/>
    <p:sldLayoutId id="2147493530" r:id="rId3"/>
    <p:sldLayoutId id="2147483863" r:id="rId4"/>
    <p:sldLayoutId id="2147489180" r:id="rId5"/>
    <p:sldLayoutId id="2147489181" r:id="rId6"/>
    <p:sldLayoutId id="2147489182" r:id="rId7"/>
    <p:sldLayoutId id="2147489183" r:id="rId8"/>
    <p:sldLayoutId id="2147483834" r:id="rId9"/>
    <p:sldLayoutId id="2147493589" r:id="rId10"/>
    <p:sldLayoutId id="2147489165" r:id="rId11"/>
    <p:sldLayoutId id="2147489166" r:id="rId12"/>
    <p:sldLayoutId id="2147489167" r:id="rId13"/>
    <p:sldLayoutId id="2147489168" r:id="rId14"/>
    <p:sldLayoutId id="2147489169" r:id="rId15"/>
    <p:sldLayoutId id="2147483842" r:id="rId16"/>
    <p:sldLayoutId id="2147489187" r:id="rId17"/>
    <p:sldLayoutId id="2147489188" r:id="rId18"/>
    <p:sldLayoutId id="2147489189" r:id="rId19"/>
    <p:sldLayoutId id="2147483843" r:id="rId20"/>
    <p:sldLayoutId id="2147483844" r:id="rId21"/>
    <p:sldLayoutId id="2147483845" r:id="rId22"/>
    <p:sldLayoutId id="2147489192" r:id="rId23"/>
    <p:sldLayoutId id="2147489193" r:id="rId24"/>
    <p:sldLayoutId id="2147483846" r:id="rId25"/>
    <p:sldLayoutId id="2147483847" r:id="rId26"/>
    <p:sldLayoutId id="2147489153" r:id="rId27"/>
    <p:sldLayoutId id="2147483849" r:id="rId28"/>
    <p:sldLayoutId id="2147489154" r:id="rId29"/>
    <p:sldLayoutId id="2147489155" r:id="rId30"/>
    <p:sldLayoutId id="2147483852" r:id="rId31"/>
    <p:sldLayoutId id="2147489156" r:id="rId32"/>
    <p:sldLayoutId id="2147489157" r:id="rId33"/>
    <p:sldLayoutId id="2147489201" r:id="rId34"/>
    <p:sldLayoutId id="2147489158" r:id="rId35"/>
    <p:sldLayoutId id="2147489159" r:id="rId36"/>
    <p:sldLayoutId id="2147489203" r:id="rId37"/>
    <p:sldLayoutId id="2147489204" r:id="rId38"/>
    <p:sldLayoutId id="2147489205" r:id="rId39"/>
    <p:sldLayoutId id="2147489160" r:id="rId40"/>
    <p:sldLayoutId id="2147489161" r:id="rId41"/>
    <p:sldLayoutId id="2147493532" r:id="rId42"/>
    <p:sldLayoutId id="2147483906" r:id="rId43"/>
    <p:sldLayoutId id="2147483907" r:id="rId44"/>
    <p:sldLayoutId id="2147483859" r:id="rId45"/>
    <p:sldLayoutId id="2147489162" r:id="rId46"/>
    <p:sldLayoutId id="2147489163" r:id="rId47"/>
    <p:sldLayoutId id="2147489164" r:id="rId48"/>
    <p:sldLayoutId id="2147483920" r:id="rId49"/>
    <p:sldLayoutId id="2147489175" r:id="rId50"/>
    <p:sldLayoutId id="2147489088" r:id="rId51"/>
    <p:sldLayoutId id="2147489179" r:id="rId52"/>
    <p:sldLayoutId id="2147489090" r:id="rId53"/>
    <p:sldLayoutId id="2147489091" r:id="rId54"/>
    <p:sldLayoutId id="2147489092" r:id="rId55"/>
    <p:sldLayoutId id="2147489094" r:id="rId56"/>
    <p:sldLayoutId id="2147489097" r:id="rId57"/>
    <p:sldLayoutId id="2147489098" r:id="rId58"/>
    <p:sldLayoutId id="2147489099" r:id="rId59"/>
    <p:sldLayoutId id="2147489100" r:id="rId60"/>
    <p:sldLayoutId id="2147489101" r:id="rId61"/>
    <p:sldLayoutId id="2147489102" r:id="rId62"/>
    <p:sldLayoutId id="2147489103" r:id="rId63"/>
    <p:sldLayoutId id="2147489104"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003778077"/>
      </p:ext>
    </p:extLst>
  </p:cSld>
  <p:clrMap bg1="lt1" tx1="dk1" bg2="lt2" tx2="dk2" accent1="accent1" accent2="accent2" accent3="accent3" accent4="accent4" accent5="accent5" accent6="accent6" hlink="hlink" folHlink="folHlink"/>
  <p:sldLayoutIdLst>
    <p:sldLayoutId id="2147493606" r:id="rId1"/>
    <p:sldLayoutId id="2147493607" r:id="rId2"/>
    <p:sldLayoutId id="2147493608" r:id="rId3"/>
    <p:sldLayoutId id="2147493609" r:id="rId4"/>
    <p:sldLayoutId id="2147493610" r:id="rId5"/>
    <p:sldLayoutId id="2147493611" r:id="rId6"/>
    <p:sldLayoutId id="2147493612" r:id="rId7"/>
    <p:sldLayoutId id="2147493613" r:id="rId8"/>
    <p:sldLayoutId id="2147493614" r:id="rId9"/>
    <p:sldLayoutId id="2147493615" r:id="rId10"/>
    <p:sldLayoutId id="2147493616" r:id="rId11"/>
    <p:sldLayoutId id="2147493617" r:id="rId12"/>
    <p:sldLayoutId id="2147493618" r:id="rId13"/>
    <p:sldLayoutId id="2147493619" r:id="rId14"/>
    <p:sldLayoutId id="2147493620" r:id="rId15"/>
    <p:sldLayoutId id="2147493621" r:id="rId16"/>
    <p:sldLayoutId id="2147493909" r:id="rId17"/>
    <p:sldLayoutId id="2147493910" r:id="rId18"/>
    <p:sldLayoutId id="2147493911" r:id="rId19"/>
    <p:sldLayoutId id="2147493912" r:id="rId20"/>
    <p:sldLayoutId id="2147493913" r:id="rId21"/>
    <p:sldLayoutId id="2147493914" r:id="rId22"/>
    <p:sldLayoutId id="2147493915" r:id="rId23"/>
    <p:sldLayoutId id="2147493916" r:id="rId24"/>
    <p:sldLayoutId id="2147493917" r:id="rId25"/>
    <p:sldLayoutId id="2147493918" r:id="rId26"/>
    <p:sldLayoutId id="2147493919" r:id="rId27"/>
    <p:sldLayoutId id="2147493920" r:id="rId28"/>
    <p:sldLayoutId id="2147493921" r:id="rId29"/>
    <p:sldLayoutId id="2147493922" r:id="rId30"/>
    <p:sldLayoutId id="2147493923" r:id="rId31"/>
    <p:sldLayoutId id="2147493924" r:id="rId32"/>
    <p:sldLayoutId id="2147493925" r:id="rId33"/>
    <p:sldLayoutId id="2147493926" r:id="rId34"/>
    <p:sldLayoutId id="2147493927" r:id="rId35"/>
    <p:sldLayoutId id="2147493928" r:id="rId36"/>
    <p:sldLayoutId id="2147493929" r:id="rId37"/>
    <p:sldLayoutId id="2147493930" r:id="rId38"/>
    <p:sldLayoutId id="2147493931" r:id="rId39"/>
    <p:sldLayoutId id="2147493932" r:id="rId40"/>
    <p:sldLayoutId id="2147493933" r:id="rId41"/>
    <p:sldLayoutId id="2147493934" r:id="rId42"/>
    <p:sldLayoutId id="2147493935" r:id="rId43"/>
    <p:sldLayoutId id="2147493936" r:id="rId44"/>
    <p:sldLayoutId id="2147493937" r:id="rId45"/>
    <p:sldLayoutId id="2147493938" r:id="rId46"/>
    <p:sldLayoutId id="2147493939" r:id="rId47"/>
    <p:sldLayoutId id="2147493653" r:id="rId48"/>
    <p:sldLayoutId id="2147493654" r:id="rId49"/>
    <p:sldLayoutId id="2147493655" r:id="rId50"/>
    <p:sldLayoutId id="2147493656" r:id="rId51"/>
    <p:sldLayoutId id="2147493657" r:id="rId52"/>
    <p:sldLayoutId id="2147493658" r:id="rId53"/>
    <p:sldLayoutId id="2147493659" r:id="rId54"/>
    <p:sldLayoutId id="2147493660" r:id="rId55"/>
    <p:sldLayoutId id="2147493661" r:id="rId56"/>
    <p:sldLayoutId id="2147493662" r:id="rId57"/>
    <p:sldLayoutId id="2147493663" r:id="rId58"/>
    <p:sldLayoutId id="2147493664" r:id="rId59"/>
    <p:sldLayoutId id="2147493665" r:id="rId60"/>
    <p:sldLayoutId id="2147493666" r:id="rId61"/>
    <p:sldLayoutId id="2147493667" r:id="rId62"/>
    <p:sldLayoutId id="2147493668" r:id="rId63"/>
    <p:sldLayoutId id="2147493669" r:id="rId64"/>
    <p:sldLayoutId id="2147493670" r:id="rId65"/>
    <p:sldLayoutId id="2147493671" r:id="rId66"/>
    <p:sldLayoutId id="2147493672" r:id="rId67"/>
    <p:sldLayoutId id="2147493673" r:id="rId6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807020030"/>
      </p:ext>
    </p:extLst>
  </p:cSld>
  <p:clrMap bg1="lt1" tx1="dk1" bg2="lt2" tx2="dk2" accent1="accent1" accent2="accent2" accent3="accent3" accent4="accent4" accent5="accent5" accent6="accent6" hlink="hlink" folHlink="folHlink"/>
  <p:sldLayoutIdLst>
    <p:sldLayoutId id="2147493675" r:id="rId1"/>
    <p:sldLayoutId id="2147493676" r:id="rId2"/>
    <p:sldLayoutId id="2147493677" r:id="rId3"/>
    <p:sldLayoutId id="2147493678" r:id="rId4"/>
    <p:sldLayoutId id="2147493679" r:id="rId5"/>
    <p:sldLayoutId id="2147493680" r:id="rId6"/>
    <p:sldLayoutId id="2147493681" r:id="rId7"/>
    <p:sldLayoutId id="2147493682" r:id="rId8"/>
    <p:sldLayoutId id="2147493683" r:id="rId9"/>
    <p:sldLayoutId id="2147493684" r:id="rId10"/>
    <p:sldLayoutId id="2147493685" r:id="rId11"/>
    <p:sldLayoutId id="2147493686" r:id="rId12"/>
    <p:sldLayoutId id="2147493687" r:id="rId13"/>
    <p:sldLayoutId id="2147493688" r:id="rId14"/>
    <p:sldLayoutId id="2147493689" r:id="rId15"/>
    <p:sldLayoutId id="2147493690" r:id="rId16"/>
    <p:sldLayoutId id="2147493691" r:id="rId17"/>
    <p:sldLayoutId id="2147493692" r:id="rId18"/>
    <p:sldLayoutId id="2147493693" r:id="rId19"/>
    <p:sldLayoutId id="2147493694" r:id="rId20"/>
    <p:sldLayoutId id="2147493695" r:id="rId21"/>
    <p:sldLayoutId id="2147493696" r:id="rId22"/>
    <p:sldLayoutId id="2147493697" r:id="rId23"/>
    <p:sldLayoutId id="2147493698" r:id="rId24"/>
    <p:sldLayoutId id="2147493699" r:id="rId25"/>
    <p:sldLayoutId id="2147493700" r:id="rId26"/>
    <p:sldLayoutId id="2147493701" r:id="rId27"/>
    <p:sldLayoutId id="2147493702" r:id="rId28"/>
    <p:sldLayoutId id="2147493703" r:id="rId29"/>
    <p:sldLayoutId id="2147493704" r:id="rId30"/>
    <p:sldLayoutId id="2147493705" r:id="rId31"/>
    <p:sldLayoutId id="2147493706" r:id="rId32"/>
    <p:sldLayoutId id="2147493707" r:id="rId33"/>
    <p:sldLayoutId id="2147493708" r:id="rId34"/>
    <p:sldLayoutId id="2147493709" r:id="rId35"/>
    <p:sldLayoutId id="2147493710" r:id="rId36"/>
    <p:sldLayoutId id="2147493711" r:id="rId37"/>
    <p:sldLayoutId id="2147493712" r:id="rId38"/>
    <p:sldLayoutId id="2147493713" r:id="rId39"/>
    <p:sldLayoutId id="2147493714" r:id="rId40"/>
    <p:sldLayoutId id="2147493715" r:id="rId41"/>
    <p:sldLayoutId id="2147493716" r:id="rId42"/>
    <p:sldLayoutId id="2147493717" r:id="rId43"/>
    <p:sldLayoutId id="2147493718" r:id="rId44"/>
    <p:sldLayoutId id="2147493719" r:id="rId45"/>
    <p:sldLayoutId id="2147493720" r:id="rId46"/>
    <p:sldLayoutId id="2147493721" r:id="rId47"/>
    <p:sldLayoutId id="2147493722" r:id="rId48"/>
    <p:sldLayoutId id="2147493723" r:id="rId49"/>
    <p:sldLayoutId id="2147493724" r:id="rId50"/>
    <p:sldLayoutId id="2147493725" r:id="rId51"/>
    <p:sldLayoutId id="2147493726" r:id="rId52"/>
    <p:sldLayoutId id="2147493727" r:id="rId53"/>
    <p:sldLayoutId id="2147493728" r:id="rId54"/>
    <p:sldLayoutId id="2147493729" r:id="rId55"/>
    <p:sldLayoutId id="2147493730" r:id="rId56"/>
    <p:sldLayoutId id="2147493731" r:id="rId57"/>
    <p:sldLayoutId id="2147493732" r:id="rId58"/>
    <p:sldLayoutId id="2147493733" r:id="rId59"/>
    <p:sldLayoutId id="2147493734" r:id="rId60"/>
    <p:sldLayoutId id="2147493735" r:id="rId61"/>
    <p:sldLayoutId id="2147493736" r:id="rId62"/>
    <p:sldLayoutId id="2147493737" r:id="rId63"/>
    <p:sldLayoutId id="2147493738" r:id="rId64"/>
    <p:sldLayoutId id="2147493739" r:id="rId65"/>
    <p:sldLayoutId id="2147493740" r:id="rId66"/>
    <p:sldLayoutId id="2147493741" r:id="rId67"/>
    <p:sldLayoutId id="2147493742" r:id="rId68"/>
    <p:sldLayoutId id="2147493743" r:id="rId69"/>
    <p:sldLayoutId id="2147493744" r:id="rId70"/>
    <p:sldLayoutId id="2147493745" r:id="rId71"/>
    <p:sldLayoutId id="2147493746" r:id="rId72"/>
    <p:sldLayoutId id="2147493747" r:id="rId73"/>
    <p:sldLayoutId id="2147493748" r:id="rId74"/>
    <p:sldLayoutId id="2147493749"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56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8.xml"/></Relationships>
</file>

<file path=ppt/slides/_rels/slide1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2.xml"/><Relationship Id="rId1" Type="http://schemas.openxmlformats.org/officeDocument/2006/relationships/slideLayout" Target="../slideLayouts/slideLayout424.xml"/><Relationship Id="rId4" Type="http://schemas.openxmlformats.org/officeDocument/2006/relationships/image" Target="../media/image104.svg"/></Relationships>
</file>

<file path=ppt/slides/_rels/slide1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392.xml"/><Relationship Id="rId4" Type="http://schemas.openxmlformats.org/officeDocument/2006/relationships/image" Target="../media/image106.svg"/></Relationships>
</file>

<file path=ppt/slides/_rels/slide15.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09.png"/><Relationship Id="rId18" Type="http://schemas.microsoft.com/office/2007/relationships/hdphoto" Target="../media/hdphoto2.wdp"/><Relationship Id="rId3" Type="http://schemas.openxmlformats.org/officeDocument/2006/relationships/image" Target="../media/image102.png"/><Relationship Id="rId21" Type="http://schemas.openxmlformats.org/officeDocument/2006/relationships/image" Target="../media/image113.png"/><Relationship Id="rId7" Type="http://schemas.openxmlformats.org/officeDocument/2006/relationships/image" Target="../media/image106.png"/><Relationship Id="rId12" Type="http://schemas.openxmlformats.org/officeDocument/2006/relationships/image" Target="../media/image116.svg"/><Relationship Id="rId17" Type="http://schemas.openxmlformats.org/officeDocument/2006/relationships/image" Target="../media/image111.png"/><Relationship Id="rId2" Type="http://schemas.openxmlformats.org/officeDocument/2006/relationships/notesSlide" Target="../notesSlides/notesSlide14.xml"/><Relationship Id="rId16" Type="http://schemas.openxmlformats.org/officeDocument/2006/relationships/image" Target="../media/image120.svg"/><Relationship Id="rId20" Type="http://schemas.microsoft.com/office/2007/relationships/hdphoto" Target="../media/hdphoto3.wdp"/><Relationship Id="rId1" Type="http://schemas.openxmlformats.org/officeDocument/2006/relationships/slideLayout" Target="../slideLayouts/slideLayout544.xml"/><Relationship Id="rId6" Type="http://schemas.openxmlformats.org/officeDocument/2006/relationships/image" Target="../media/image105.png"/><Relationship Id="rId11" Type="http://schemas.openxmlformats.org/officeDocument/2006/relationships/image" Target="../media/image108.png"/><Relationship Id="rId5" Type="http://schemas.openxmlformats.org/officeDocument/2006/relationships/image" Target="../media/image104.jpeg"/><Relationship Id="rId15" Type="http://schemas.openxmlformats.org/officeDocument/2006/relationships/image" Target="../media/image110.png"/><Relationship Id="rId10" Type="http://schemas.openxmlformats.org/officeDocument/2006/relationships/image" Target="../media/image114.svg"/><Relationship Id="rId19" Type="http://schemas.openxmlformats.org/officeDocument/2006/relationships/image" Target="../media/image112.png"/><Relationship Id="rId4" Type="http://schemas.openxmlformats.org/officeDocument/2006/relationships/image" Target="../media/image103.png"/><Relationship Id="rId9" Type="http://schemas.openxmlformats.org/officeDocument/2006/relationships/image" Target="../media/image107.png"/><Relationship Id="rId14" Type="http://schemas.openxmlformats.org/officeDocument/2006/relationships/image" Target="../media/image118.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21.xml"/><Relationship Id="rId1" Type="http://schemas.openxmlformats.org/officeDocument/2006/relationships/themeOverride" Target="../theme/themeOverride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0.xml"/></Relationships>
</file>

<file path=ppt/slides/_rels/slide18.xml.rels><?xml version="1.0" encoding="UTF-8" standalone="yes"?>
<Relationships xmlns="http://schemas.openxmlformats.org/package/2006/relationships"><Relationship Id="rId8" Type="http://schemas.openxmlformats.org/officeDocument/2006/relationships/image" Target="../media/image119.emf"/><Relationship Id="rId3" Type="http://schemas.openxmlformats.org/officeDocument/2006/relationships/image" Target="../media/image114.emf"/><Relationship Id="rId7" Type="http://schemas.openxmlformats.org/officeDocument/2006/relationships/image" Target="../media/image118.emf"/><Relationship Id="rId2" Type="http://schemas.openxmlformats.org/officeDocument/2006/relationships/notesSlide" Target="../notesSlides/notesSlide17.xml"/><Relationship Id="rId1" Type="http://schemas.openxmlformats.org/officeDocument/2006/relationships/slideLayout" Target="../slideLayouts/slideLayout318.xml"/><Relationship Id="rId6" Type="http://schemas.openxmlformats.org/officeDocument/2006/relationships/image" Target="../media/image117.emf"/><Relationship Id="rId5" Type="http://schemas.openxmlformats.org/officeDocument/2006/relationships/image" Target="../media/image116.png"/><Relationship Id="rId4" Type="http://schemas.openxmlformats.org/officeDocument/2006/relationships/image" Target="../media/image115.png"/></Relationships>
</file>

<file path=ppt/slides/_rels/slide19.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8.png"/><Relationship Id="rId3" Type="http://schemas.openxmlformats.org/officeDocument/2006/relationships/image" Target="../media/image133.svg"/><Relationship Id="rId7" Type="http://schemas.openxmlformats.org/officeDocument/2006/relationships/image" Target="../media/image137.svg"/><Relationship Id="rId12" Type="http://schemas.openxmlformats.org/officeDocument/2006/relationships/image" Target="../media/image141.svg"/><Relationship Id="rId2" Type="http://schemas.openxmlformats.org/officeDocument/2006/relationships/image" Target="../media/image120.png"/><Relationship Id="rId16" Type="http://schemas.openxmlformats.org/officeDocument/2006/relationships/image" Target="../media/image130.emf"/><Relationship Id="rId1" Type="http://schemas.openxmlformats.org/officeDocument/2006/relationships/slideLayout" Target="../slideLayouts/slideLayout463.xml"/><Relationship Id="rId6" Type="http://schemas.openxmlformats.org/officeDocument/2006/relationships/image" Target="../media/image123.png"/><Relationship Id="rId11" Type="http://schemas.openxmlformats.org/officeDocument/2006/relationships/image" Target="../media/image127.png"/><Relationship Id="rId5" Type="http://schemas.openxmlformats.org/officeDocument/2006/relationships/image" Target="../media/image122.png"/><Relationship Id="rId15" Type="http://schemas.openxmlformats.org/officeDocument/2006/relationships/image" Target="../media/image129.emf"/><Relationship Id="rId10" Type="http://schemas.openxmlformats.org/officeDocument/2006/relationships/image" Target="../media/image126.png"/><Relationship Id="rId4" Type="http://schemas.openxmlformats.org/officeDocument/2006/relationships/image" Target="../media/image121.png"/><Relationship Id="rId9" Type="http://schemas.openxmlformats.org/officeDocument/2006/relationships/image" Target="../media/image125.png"/><Relationship Id="rId14" Type="http://schemas.openxmlformats.org/officeDocument/2006/relationships/image" Target="../media/image143.svg"/></Relationships>
</file>

<file path=ppt/slides/_rels/slide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xml"/><Relationship Id="rId1" Type="http://schemas.openxmlformats.org/officeDocument/2006/relationships/slideLayout" Target="../slideLayouts/slideLayout281.xml"/></Relationships>
</file>

<file path=ppt/slides/_rels/slide20.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29.emf"/><Relationship Id="rId3" Type="http://schemas.openxmlformats.org/officeDocument/2006/relationships/image" Target="../media/image133.svg"/><Relationship Id="rId7" Type="http://schemas.openxmlformats.org/officeDocument/2006/relationships/image" Target="../media/image137.svg"/><Relationship Id="rId12" Type="http://schemas.openxmlformats.org/officeDocument/2006/relationships/image" Target="../media/image143.svg"/><Relationship Id="rId2" Type="http://schemas.openxmlformats.org/officeDocument/2006/relationships/image" Target="../media/image120.png"/><Relationship Id="rId1" Type="http://schemas.openxmlformats.org/officeDocument/2006/relationships/slideLayout" Target="../slideLayouts/slideLayout463.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png"/><Relationship Id="rId10" Type="http://schemas.openxmlformats.org/officeDocument/2006/relationships/image" Target="../media/image126.png"/><Relationship Id="rId4" Type="http://schemas.openxmlformats.org/officeDocument/2006/relationships/image" Target="../media/image121.png"/><Relationship Id="rId9" Type="http://schemas.openxmlformats.org/officeDocument/2006/relationships/image" Target="../media/image141.svg"/><Relationship Id="rId14" Type="http://schemas.openxmlformats.org/officeDocument/2006/relationships/image" Target="../media/image130.emf"/></Relationships>
</file>

<file path=ppt/slides/_rels/slide21.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1.png"/><Relationship Id="rId7" Type="http://schemas.openxmlformats.org/officeDocument/2006/relationships/image" Target="../media/image123.png"/><Relationship Id="rId2" Type="http://schemas.openxmlformats.org/officeDocument/2006/relationships/image" Target="../media/image125.png"/><Relationship Id="rId1" Type="http://schemas.openxmlformats.org/officeDocument/2006/relationships/slideLayout" Target="../slideLayouts/slideLayout463.xml"/><Relationship Id="rId6" Type="http://schemas.openxmlformats.org/officeDocument/2006/relationships/image" Target="../media/image133.svg"/><Relationship Id="rId11" Type="http://schemas.openxmlformats.org/officeDocument/2006/relationships/image" Target="../media/image124.png"/><Relationship Id="rId5" Type="http://schemas.openxmlformats.org/officeDocument/2006/relationships/image" Target="../media/image127.png"/><Relationship Id="rId10" Type="http://schemas.openxmlformats.org/officeDocument/2006/relationships/image" Target="../media/image149.svg"/><Relationship Id="rId4" Type="http://schemas.openxmlformats.org/officeDocument/2006/relationships/image" Target="../media/image147.svg"/><Relationship Id="rId9" Type="http://schemas.openxmlformats.org/officeDocument/2006/relationships/image" Target="../media/image132.png"/></Relationships>
</file>

<file path=ppt/slides/_rels/slide2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37.svg"/><Relationship Id="rId2" Type="http://schemas.openxmlformats.org/officeDocument/2006/relationships/image" Target="../media/image126.png"/><Relationship Id="rId1" Type="http://schemas.openxmlformats.org/officeDocument/2006/relationships/slideLayout" Target="../slideLayouts/slideLayout463.xml"/><Relationship Id="rId6" Type="http://schemas.openxmlformats.org/officeDocument/2006/relationships/image" Target="../media/image123.png"/><Relationship Id="rId5" Type="http://schemas.openxmlformats.org/officeDocument/2006/relationships/image" Target="../media/image121.png"/><Relationship Id="rId10" Type="http://schemas.openxmlformats.org/officeDocument/2006/relationships/image" Target="../media/image124.png"/><Relationship Id="rId4" Type="http://schemas.openxmlformats.org/officeDocument/2006/relationships/image" Target="../media/image133.svg"/><Relationship Id="rId9" Type="http://schemas.openxmlformats.org/officeDocument/2006/relationships/image" Target="../media/image133.emf"/></Relationships>
</file>

<file path=ppt/slides/_rels/slide23.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18.xml"/><Relationship Id="rId1" Type="http://schemas.openxmlformats.org/officeDocument/2006/relationships/slideLayout" Target="../slideLayouts/slideLayout280.xml"/><Relationship Id="rId5" Type="http://schemas.openxmlformats.org/officeDocument/2006/relationships/image" Target="../media/image136.emf"/><Relationship Id="rId4" Type="http://schemas.openxmlformats.org/officeDocument/2006/relationships/image" Target="../media/image135.emf"/></Relationships>
</file>

<file path=ppt/slides/_rels/slide24.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37.png"/><Relationship Id="rId7" Type="http://schemas.openxmlformats.org/officeDocument/2006/relationships/image" Target="../media/image139.png"/><Relationship Id="rId12" Type="http://schemas.openxmlformats.org/officeDocument/2006/relationships/image" Target="../media/image142.png"/><Relationship Id="rId2" Type="http://schemas.openxmlformats.org/officeDocument/2006/relationships/notesSlide" Target="../notesSlides/notesSlide19.xml"/><Relationship Id="rId1" Type="http://schemas.openxmlformats.org/officeDocument/2006/relationships/slideLayout" Target="../slideLayouts/slideLayout280.xml"/><Relationship Id="rId6" Type="http://schemas.openxmlformats.org/officeDocument/2006/relationships/image" Target="../media/image157.svg"/><Relationship Id="rId11" Type="http://schemas.openxmlformats.org/officeDocument/2006/relationships/image" Target="../media/image141.png"/><Relationship Id="rId5" Type="http://schemas.openxmlformats.org/officeDocument/2006/relationships/image" Target="../media/image138.png"/><Relationship Id="rId10" Type="http://schemas.openxmlformats.org/officeDocument/2006/relationships/image" Target="../media/image161.svg"/><Relationship Id="rId4" Type="http://schemas.openxmlformats.org/officeDocument/2006/relationships/image" Target="../media/image155.svg"/><Relationship Id="rId9" Type="http://schemas.openxmlformats.org/officeDocument/2006/relationships/image" Target="../media/image14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3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8.xml"/><Relationship Id="rId1" Type="http://schemas.openxmlformats.org/officeDocument/2006/relationships/themeOverride" Target="../theme/themeOverride3.xml"/><Relationship Id="rId4" Type="http://schemas.openxmlformats.org/officeDocument/2006/relationships/image" Target="../media/image143.png"/></Relationships>
</file>

<file path=ppt/slides/_rels/slide28.xml.rels><?xml version="1.0" encoding="UTF-8" standalone="yes"?>
<Relationships xmlns="http://schemas.openxmlformats.org/package/2006/relationships"><Relationship Id="rId3" Type="http://schemas.openxmlformats.org/officeDocument/2006/relationships/image" Target="../media/image73.wmf"/><Relationship Id="rId2" Type="http://schemas.openxmlformats.org/officeDocument/2006/relationships/image" Target="../media/image72.emf"/><Relationship Id="rId1" Type="http://schemas.openxmlformats.org/officeDocument/2006/relationships/slideLayout" Target="../slideLayouts/slideLayout280.xml"/><Relationship Id="rId5" Type="http://schemas.openxmlformats.org/officeDocument/2006/relationships/image" Target="../media/image75.wmf"/><Relationship Id="rId4" Type="http://schemas.openxmlformats.org/officeDocument/2006/relationships/image" Target="../media/image74.wmf"/></Relationships>
</file>

<file path=ppt/slides/_rels/slide2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3.xml"/><Relationship Id="rId1" Type="http://schemas.openxmlformats.org/officeDocument/2006/relationships/slideLayout" Target="../slideLayouts/slideLayout392.xml"/><Relationship Id="rId4" Type="http://schemas.openxmlformats.org/officeDocument/2006/relationships/image" Target="../media/image16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1.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slideLayout" Target="../slideLayouts/slideLayout280.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8" Type="http://schemas.openxmlformats.org/officeDocument/2006/relationships/tags" Target="../tags/tag10.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notesSlide" Target="../notesSlides/notesSlide24.xml"/><Relationship Id="rId20" Type="http://schemas.openxmlformats.org/officeDocument/2006/relationships/tags" Target="../tags/tag22.xml"/><Relationship Id="rId41" Type="http://schemas.openxmlformats.org/officeDocument/2006/relationships/tags" Target="../tags/tag43.xml"/></Relationships>
</file>

<file path=ppt/slides/_rels/slide3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5.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280.xml"/><Relationship Id="rId4" Type="http://schemas.openxmlformats.org/officeDocument/2006/relationships/image" Target="../media/image10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0.xml"/></Relationships>
</file>

<file path=ppt/slides/_rels/slide6.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xml"/><Relationship Id="rId1" Type="http://schemas.openxmlformats.org/officeDocument/2006/relationships/slideLayout" Target="../slideLayouts/slideLayout281.xml"/><Relationship Id="rId4" Type="http://schemas.openxmlformats.org/officeDocument/2006/relationships/image" Target="../media/image9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0.xml"/></Relationships>
</file>

<file path=ppt/slides/_rels/slide8.xml.rels><?xml version="1.0" encoding="UTF-8" standalone="yes"?>
<Relationships xmlns="http://schemas.openxmlformats.org/package/2006/relationships"><Relationship Id="rId3" Type="http://schemas.openxmlformats.org/officeDocument/2006/relationships/hyperlink" Target="aka.ms/why5xmore" TargetMode="External"/><Relationship Id="rId2" Type="http://schemas.openxmlformats.org/officeDocument/2006/relationships/notesSlide" Target="../notesSlides/notesSlide7.xml"/><Relationship Id="rId1" Type="http://schemas.openxmlformats.org/officeDocument/2006/relationships/slideLayout" Target="../slideLayouts/slideLayout3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564022" y="3066750"/>
            <a:ext cx="6698083" cy="917918"/>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620" marR="2540" defTabSz="277200">
              <a:lnSpc>
                <a:spcPts val="3335"/>
              </a:lnSpc>
              <a:spcBef>
                <a:spcPts val="557"/>
              </a:spcBef>
              <a:defRPr/>
            </a:pPr>
            <a:r>
              <a:rPr kumimoji="0" lang="en-US" sz="3150" b="0" i="0" u="none" strike="noStrike" kern="1200" cap="none" spc="-39" normalizeH="0" baseline="0" noProof="0" dirty="0">
                <a:ln>
                  <a:noFill/>
                </a:ln>
                <a:solidFill>
                  <a:srgbClr val="FFFFFF"/>
                </a:solidFill>
                <a:effectLst/>
                <a:uLnTx/>
                <a:uFillTx/>
                <a:latin typeface="Segoe UI"/>
                <a:ea typeface="+mn-ea"/>
                <a:cs typeface="Segoe UI"/>
              </a:rPr>
              <a:t>Microsoft</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zure </a:t>
            </a:r>
            <a:r>
              <a:rPr kumimoji="0" lang="en-US" sz="3150" b="0" i="0" u="none" strike="noStrike" kern="1200" cap="none" spc="-42" normalizeH="0" baseline="0" noProof="0" dirty="0">
                <a:ln>
                  <a:noFill/>
                </a:ln>
                <a:solidFill>
                  <a:srgbClr val="FFFFFF"/>
                </a:solidFill>
                <a:effectLst/>
                <a:uLnTx/>
                <a:uFillTx/>
                <a:latin typeface="Segoe UI"/>
                <a:ea typeface="+mn-ea"/>
                <a:cs typeface="Segoe UI"/>
              </a:rPr>
              <a:t>Immersion</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t>
            </a:r>
            <a:r>
              <a:rPr lang="en-US" sz="3150" spc="-45">
                <a:solidFill>
                  <a:srgbClr val="FFFFFF"/>
                </a:solidFill>
                <a:latin typeface="Segoe UI"/>
                <a:ea typeface="+mn-ea"/>
                <a:cs typeface="Segoe UI"/>
              </a:rPr>
              <a:t>Workshop</a:t>
            </a:r>
            <a:r>
              <a:rPr kumimoji="0" lang="en-US" sz="3150" b="0" i="0" u="none" strike="noStrike" kern="1200" cap="none" spc="-45" normalizeH="0" baseline="0" noProof="0">
                <a:ln>
                  <a:noFill/>
                </a:ln>
                <a:solidFill>
                  <a:srgbClr val="FFFFFF"/>
                </a:solidFill>
                <a:effectLst/>
                <a:uLnTx/>
                <a:uFillTx/>
                <a:latin typeface="Segoe UI"/>
                <a:ea typeface="+mn-ea"/>
                <a:cs typeface="Segoe UI"/>
              </a:rPr>
              <a:t>:</a:t>
            </a:r>
            <a:r>
              <a:rPr lang="en-US" sz="3150" spc="-45">
                <a:solidFill>
                  <a:srgbClr val="FFFFFF"/>
                </a:solidFill>
                <a:latin typeface="Segoe UI"/>
                <a:ea typeface="+mn-ea"/>
                <a:cs typeface="Segoe UI"/>
              </a:rPr>
              <a:t> </a:t>
            </a:r>
            <a:r>
              <a:rPr kumimoji="0" lang="en-US" sz="3150" b="0" i="0" u="none" strike="noStrike" kern="1200" cap="none" spc="-855" normalizeH="0" baseline="0" noProof="0" dirty="0">
                <a:ln>
                  <a:noFill/>
                </a:ln>
                <a:solidFill>
                  <a:srgbClr val="FFFFFF"/>
                </a:solidFill>
                <a:effectLst/>
                <a:uLnTx/>
                <a:uFillTx/>
                <a:latin typeface="Segoe UI"/>
                <a:ea typeface="+mn-ea"/>
                <a:cs typeface="Segoe UI"/>
              </a:rPr>
              <a:t> </a:t>
            </a:r>
            <a:r>
              <a:rPr kumimoji="0" lang="en-US" sz="3200" b="0" i="0" u="none" strike="noStrike" kern="1200" cap="none" spc="0" normalizeH="0" baseline="0" noProof="0" dirty="0">
                <a:ln>
                  <a:noFill/>
                </a:ln>
                <a:solidFill>
                  <a:schemeClr val="bg1"/>
                </a:solidFill>
                <a:effectLst/>
                <a:uLnTx/>
                <a:uFillTx/>
                <a:latin typeface="+mn-lt"/>
                <a:ea typeface="+mn-ea"/>
                <a:cs typeface="+mn-cs"/>
              </a:rPr>
              <a:t>Infrastructure Migration</a:t>
            </a:r>
            <a:endParaRPr lang="en-US" sz="3153" b="0" i="0" u="none" strike="noStrike" kern="1200" cap="none" spc="0" normalizeH="0" baseline="0" noProof="0" dirty="0">
              <a:ln>
                <a:noFill/>
              </a:ln>
              <a:solidFill>
                <a:schemeClr val="bg1"/>
              </a:solidFill>
              <a:effectLst/>
              <a:uLnTx/>
              <a:uFillTx/>
              <a:latin typeface="Segoe UI"/>
              <a:ea typeface="+mn-ea"/>
              <a:cs typeface="Segoe UI"/>
            </a:endParaRP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685790"/>
            <a:ext cx="5283114" cy="777681"/>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mn-cs"/>
              </a:rPr>
              <a:t>Session 1: Azure migration overview: Optimize costs and migrate with confidence</a:t>
            </a:r>
          </a:p>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endParaRPr lang="en-US" sz="1400" dirty="0">
              <a:solidFill>
                <a:srgbClr val="50E6FF"/>
              </a:solidFill>
              <a:latin typeface="Segoe UI"/>
            </a:endParaRP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xmlns=""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A234C8-890F-4E36-8B3E-008D7C53E01A}"/>
              </a:ext>
            </a:extLst>
          </p:cNvPr>
          <p:cNvSpPr>
            <a:spLocks noGrp="1"/>
          </p:cNvSpPr>
          <p:nvPr>
            <p:ph type="title"/>
          </p:nvPr>
        </p:nvSpPr>
        <p:spPr>
          <a:xfrm>
            <a:off x="457237" y="572357"/>
            <a:ext cx="11998362" cy="553998"/>
          </a:xfrm>
        </p:spPr>
        <p:txBody>
          <a:bodyPr/>
          <a:lstStyle/>
          <a:p>
            <a:pPr algn="l"/>
            <a:r>
              <a:rPr lang="en-US">
                <a:solidFill>
                  <a:schemeClr val="accent2"/>
                </a:solidFill>
              </a:rPr>
              <a:t>Start with a secure, trusted foundation</a:t>
            </a:r>
          </a:p>
        </p:txBody>
      </p:sp>
      <p:sp>
        <p:nvSpPr>
          <p:cNvPr id="341" name="TextBox 340">
            <a:extLst>
              <a:ext uri="{FF2B5EF4-FFF2-40B4-BE49-F238E27FC236}">
                <a16:creationId xmlns:a16="http://schemas.microsoft.com/office/drawing/2014/main" id="{6C3CE227-58BB-41B3-A7AF-8E900A2F91ED}"/>
              </a:ext>
            </a:extLst>
          </p:cNvPr>
          <p:cNvSpPr txBox="1"/>
          <p:nvPr/>
        </p:nvSpPr>
        <p:spPr>
          <a:xfrm>
            <a:off x="372247" y="2695765"/>
            <a:ext cx="4166710" cy="2186023"/>
          </a:xfrm>
          <a:prstGeom prst="rect">
            <a:avLst/>
          </a:prstGeom>
          <a:noFill/>
        </p:spPr>
        <p:txBody>
          <a:bodyPr wrap="square" lIns="175761" tIns="140609" rIns="175761" bIns="140609" rtlCol="0">
            <a:spAutoFit/>
          </a:bodyPr>
          <a:lstStyle/>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1B+ </a:t>
            </a:r>
            <a:r>
              <a:rPr kumimoji="0" lang="en-US" sz="2000" b="0" i="0" u="none" strike="noStrike" kern="0" cap="none" spc="0" normalizeH="0" baseline="0" noProof="0">
                <a:ln>
                  <a:noFill/>
                </a:ln>
                <a:solidFill>
                  <a:srgbClr val="E6E6E6"/>
                </a:solidFill>
                <a:effectLst/>
                <a:uLnTx/>
                <a:uFillTx/>
                <a:latin typeface="Segoe UI"/>
                <a:ea typeface="+mn-ea"/>
                <a:cs typeface="+mn-cs"/>
              </a:rPr>
              <a:t>annual investment</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3500+ </a:t>
            </a:r>
            <a:r>
              <a:rPr kumimoji="0" lang="en-US" sz="2000" b="0" i="0" u="none" strike="noStrike" kern="0" cap="none" spc="0" normalizeH="0" baseline="0" noProof="0">
                <a:ln>
                  <a:noFill/>
                </a:ln>
                <a:solidFill>
                  <a:srgbClr val="E6E6E6"/>
                </a:solidFill>
                <a:effectLst/>
                <a:uLnTx/>
                <a:uFillTx/>
                <a:latin typeface="Segoe UI"/>
                <a:ea typeface="+mn-ea"/>
                <a:cs typeface="+mn-cs"/>
              </a:rPr>
              <a:t>security experts</a:t>
            </a:r>
            <a:endParaRPr kumimoji="0" lang="en-US" sz="2400" b="0" i="0" u="none" strike="noStrike" kern="0" cap="none" spc="0" normalizeH="0" baseline="0" noProof="0">
              <a:ln>
                <a:noFill/>
              </a:ln>
              <a:solidFill>
                <a:srgbClr val="E6E6E6"/>
              </a:solidFill>
              <a:effectLst/>
              <a:uLnTx/>
              <a:uFillTx/>
              <a:latin typeface="Segoe UI"/>
              <a:ea typeface="+mn-ea"/>
              <a:cs typeface="+mn-cs"/>
            </a:endParaRPr>
          </a:p>
          <a:p>
            <a:pPr marL="0" marR="0" lvl="0" indent="0" algn="l" defTabSz="878727" rtl="0" eaLnBrk="1" fontAlgn="auto" latinLnBrk="0" hangingPunct="1">
              <a:lnSpc>
                <a:spcPct val="90000"/>
              </a:lnSpc>
              <a:spcBef>
                <a:spcPts val="0"/>
              </a:spcBef>
              <a:spcAft>
                <a:spcPts val="1800"/>
              </a:spcAft>
              <a:buClrTx/>
              <a:buSzTx/>
              <a:buFontTx/>
              <a:buNone/>
              <a:tabLst/>
              <a:defRPr/>
            </a:pPr>
            <a:r>
              <a:rPr kumimoji="0" lang="en-US" sz="2800" b="0" i="0" u="none" strike="noStrike" kern="0" cap="none" spc="0" normalizeH="0" baseline="0" noProof="0">
                <a:ln>
                  <a:noFill/>
                </a:ln>
                <a:solidFill>
                  <a:srgbClr val="50E6FF"/>
                </a:solidFill>
                <a:effectLst/>
                <a:uLnTx/>
                <a:uFillTx/>
                <a:latin typeface="Segoe UI Semibold"/>
                <a:ea typeface="+mn-ea"/>
                <a:cs typeface="+mn-cs"/>
              </a:rPr>
              <a:t>Trillions of signals </a:t>
            </a:r>
            <a:r>
              <a:rPr kumimoji="0" lang="en-US" sz="2000" b="0" i="0" u="none" strike="noStrike" kern="0" cap="none" spc="0" normalizeH="0" baseline="0" noProof="0">
                <a:ln>
                  <a:noFill/>
                </a:ln>
                <a:solidFill>
                  <a:srgbClr val="E6E6E6"/>
                </a:solidFill>
                <a:effectLst/>
                <a:uLnTx/>
                <a:uFillTx/>
                <a:latin typeface="Segoe UI"/>
                <a:ea typeface="+mn-ea"/>
                <a:cs typeface="+mn-cs"/>
              </a:rPr>
              <a:t>analyzed for intelligence</a:t>
            </a:r>
            <a:endParaRPr kumimoji="0" lang="en-US" sz="2400" b="0" i="0" u="none" strike="noStrike" kern="0" cap="none" spc="0" normalizeH="0" baseline="0" noProof="0">
              <a:ln>
                <a:noFill/>
              </a:ln>
              <a:solidFill>
                <a:srgbClr val="E6E6E6"/>
              </a:solidFill>
              <a:effectLst/>
              <a:uLnTx/>
              <a:uFillTx/>
              <a:latin typeface="Segoe UI"/>
              <a:ea typeface="+mn-ea"/>
              <a:cs typeface="+mn-cs"/>
            </a:endParaRPr>
          </a:p>
        </p:txBody>
      </p:sp>
      <p:sp>
        <p:nvSpPr>
          <p:cNvPr id="167" name="cloud" descr="picture of multiple signals">
            <a:extLst>
              <a:ext uri="{FF2B5EF4-FFF2-40B4-BE49-F238E27FC236}">
                <a16:creationId xmlns:a16="http://schemas.microsoft.com/office/drawing/2014/main" id="{F1524CDE-64CA-439C-80E1-0CD02F6E43D5}"/>
              </a:ext>
            </a:extLst>
          </p:cNvPr>
          <p:cNvSpPr>
            <a:spLocks noChangeAspect="1"/>
          </p:cNvSpPr>
          <p:nvPr/>
        </p:nvSpPr>
        <p:spPr bwMode="auto">
          <a:xfrm>
            <a:off x="4375380" y="1586078"/>
            <a:ext cx="7257676" cy="455581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8162 w 10000"/>
              <a:gd name="connsiteY1" fmla="*/ 9947 h 10000"/>
              <a:gd name="connsiteX2" fmla="*/ 2558 w 10000"/>
              <a:gd name="connsiteY2" fmla="*/ 10000 h 10000"/>
              <a:gd name="connsiteX3" fmla="*/ 2558 w 10000"/>
              <a:gd name="connsiteY3" fmla="*/ 10000 h 10000"/>
              <a:gd name="connsiteX4" fmla="*/ 2500 w 10000"/>
              <a:gd name="connsiteY4" fmla="*/ 10000 h 10000"/>
              <a:gd name="connsiteX5" fmla="*/ 0 w 10000"/>
              <a:gd name="connsiteY5" fmla="*/ 5991 h 10000"/>
              <a:gd name="connsiteX6" fmla="*/ 2500 w 10000"/>
              <a:gd name="connsiteY6" fmla="*/ 2028 h 10000"/>
              <a:gd name="connsiteX7" fmla="*/ 3023 w 10000"/>
              <a:gd name="connsiteY7" fmla="*/ 2074 h 10000"/>
              <a:gd name="connsiteX8" fmla="*/ 5349 w 10000"/>
              <a:gd name="connsiteY8" fmla="*/ 0 h 10000"/>
              <a:gd name="connsiteX9" fmla="*/ 8081 w 10000"/>
              <a:gd name="connsiteY9" fmla="*/ 3917 h 10000"/>
              <a:gd name="connsiteX10" fmla="*/ 8081 w 10000"/>
              <a:gd name="connsiteY10" fmla="*/ 3917 h 10000"/>
              <a:gd name="connsiteX11" fmla="*/ 10000 w 10000"/>
              <a:gd name="connsiteY11" fmla="*/ 6959 h 10000"/>
              <a:gd name="connsiteX12" fmla="*/ 8169 w 10000"/>
              <a:gd name="connsiteY12"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8169" y="9954"/>
                </a:moveTo>
                <a:lnTo>
                  <a:pt x="8162" y="9947"/>
                </a:ln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chemeClr val="accent1">
              <a:alpha val="27000"/>
            </a:schemeClr>
          </a:solidFill>
          <a:ln w="6350" cap="flat">
            <a:solidFill>
              <a:schemeClr val="tx2">
                <a:alpha val="35000"/>
              </a:schemeClr>
            </a:solidFill>
            <a:prstDash val="solid"/>
            <a:miter lim="800000"/>
            <a:headEnd/>
            <a:tailEnd/>
          </a:ln>
          <a:effectLst>
            <a:outerShdw blurRad="254000" sx="102000" sy="102000" algn="ctr" rotWithShape="0">
              <a:prstClr val="black">
                <a:alpha val="20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nvGrpSpPr>
          <p:cNvPr id="168" name="DOTS">
            <a:extLst>
              <a:ext uri="{FF2B5EF4-FFF2-40B4-BE49-F238E27FC236}">
                <a16:creationId xmlns:a16="http://schemas.microsoft.com/office/drawing/2014/main" id="{FB51D0BB-6CB0-4301-9508-9A030B7B1309}"/>
              </a:ext>
              <a:ext uri="{C183D7F6-B498-43B3-948B-1728B52AA6E4}">
                <adec:decorative xmlns:adec="http://schemas.microsoft.com/office/drawing/2017/decorative" xmlns="" val="1"/>
              </a:ext>
            </a:extLst>
          </p:cNvPr>
          <p:cNvGrpSpPr/>
          <p:nvPr/>
        </p:nvGrpSpPr>
        <p:grpSpPr>
          <a:xfrm>
            <a:off x="4317334" y="1548602"/>
            <a:ext cx="7400456" cy="4675037"/>
            <a:chOff x="4634837" y="892359"/>
            <a:chExt cx="7400456" cy="4675037"/>
          </a:xfrm>
          <a:solidFill>
            <a:schemeClr val="accent2"/>
          </a:solidFill>
        </p:grpSpPr>
        <p:sp>
          <p:nvSpPr>
            <p:cNvPr id="177" name="Oval 70">
              <a:extLst>
                <a:ext uri="{FF2B5EF4-FFF2-40B4-BE49-F238E27FC236}">
                  <a16:creationId xmlns:a16="http://schemas.microsoft.com/office/drawing/2014/main" id="{E8C346A2-4E06-412A-A4F4-5AA19BBA564A}"/>
                </a:ext>
              </a:extLst>
            </p:cNvPr>
            <p:cNvSpPr>
              <a:spLocks noChangeArrowheads="1"/>
            </p:cNvSpPr>
            <p:nvPr/>
          </p:nvSpPr>
          <p:spPr bwMode="auto">
            <a:xfrm>
              <a:off x="6459923" y="2901023"/>
              <a:ext cx="192061" cy="19206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8" name="Oval 74">
              <a:extLst>
                <a:ext uri="{FF2B5EF4-FFF2-40B4-BE49-F238E27FC236}">
                  <a16:creationId xmlns:a16="http://schemas.microsoft.com/office/drawing/2014/main" id="{A36DA686-8624-452F-9252-37E455C667AF}"/>
                </a:ext>
              </a:extLst>
            </p:cNvPr>
            <p:cNvSpPr>
              <a:spLocks noChangeArrowheads="1"/>
            </p:cNvSpPr>
            <p:nvPr/>
          </p:nvSpPr>
          <p:spPr bwMode="auto">
            <a:xfrm>
              <a:off x="10227744" y="4129180"/>
              <a:ext cx="246795" cy="24292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9" name="Oval 79">
              <a:extLst>
                <a:ext uri="{FF2B5EF4-FFF2-40B4-BE49-F238E27FC236}">
                  <a16:creationId xmlns:a16="http://schemas.microsoft.com/office/drawing/2014/main" id="{928F889E-63D6-4583-A5BD-10B2C5CC48E9}"/>
                </a:ext>
              </a:extLst>
            </p:cNvPr>
            <p:cNvSpPr>
              <a:spLocks noChangeArrowheads="1"/>
            </p:cNvSpPr>
            <p:nvPr/>
          </p:nvSpPr>
          <p:spPr bwMode="auto">
            <a:xfrm>
              <a:off x="6280806" y="4181483"/>
              <a:ext cx="244440" cy="24126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0" name="Oval 81">
              <a:extLst>
                <a:ext uri="{FF2B5EF4-FFF2-40B4-BE49-F238E27FC236}">
                  <a16:creationId xmlns:a16="http://schemas.microsoft.com/office/drawing/2014/main" id="{C3F2F12E-D6FF-44CF-B16B-C37E72E88647}"/>
                </a:ext>
              </a:extLst>
            </p:cNvPr>
            <p:cNvSpPr>
              <a:spLocks noChangeArrowheads="1"/>
            </p:cNvSpPr>
            <p:nvPr/>
          </p:nvSpPr>
          <p:spPr bwMode="auto">
            <a:xfrm>
              <a:off x="11852756" y="4158368"/>
              <a:ext cx="182537"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1" name="Oval 89">
              <a:extLst>
                <a:ext uri="{FF2B5EF4-FFF2-40B4-BE49-F238E27FC236}">
                  <a16:creationId xmlns:a16="http://schemas.microsoft.com/office/drawing/2014/main" id="{970466B8-1425-4324-9DE4-E03C5F6EED88}"/>
                </a:ext>
              </a:extLst>
            </p:cNvPr>
            <p:cNvSpPr>
              <a:spLocks noChangeArrowheads="1"/>
            </p:cNvSpPr>
            <p:nvPr/>
          </p:nvSpPr>
          <p:spPr bwMode="auto">
            <a:xfrm>
              <a:off x="9766546" y="2248451"/>
              <a:ext cx="217458" cy="21745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2" name="Oval 91">
              <a:extLst>
                <a:ext uri="{FF2B5EF4-FFF2-40B4-BE49-F238E27FC236}">
                  <a16:creationId xmlns:a16="http://schemas.microsoft.com/office/drawing/2014/main" id="{C1D4C616-C384-47DB-B2DA-1FA92348CF62}"/>
                </a:ext>
              </a:extLst>
            </p:cNvPr>
            <p:cNvSpPr>
              <a:spLocks noChangeArrowheads="1"/>
            </p:cNvSpPr>
            <p:nvPr/>
          </p:nvSpPr>
          <p:spPr bwMode="auto">
            <a:xfrm>
              <a:off x="7637753" y="1013886"/>
              <a:ext cx="211108" cy="21904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3" name="Oval 97">
              <a:extLst>
                <a:ext uri="{FF2B5EF4-FFF2-40B4-BE49-F238E27FC236}">
                  <a16:creationId xmlns:a16="http://schemas.microsoft.com/office/drawing/2014/main" id="{EA7C196F-F814-49BA-9DD0-6A228502EF5D}"/>
                </a:ext>
              </a:extLst>
            </p:cNvPr>
            <p:cNvSpPr>
              <a:spLocks noChangeArrowheads="1"/>
            </p:cNvSpPr>
            <p:nvPr/>
          </p:nvSpPr>
          <p:spPr bwMode="auto">
            <a:xfrm>
              <a:off x="5255665" y="4958530"/>
              <a:ext cx="166664" cy="168251"/>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4" name="Oval 98">
              <a:extLst>
                <a:ext uri="{FF2B5EF4-FFF2-40B4-BE49-F238E27FC236}">
                  <a16:creationId xmlns:a16="http://schemas.microsoft.com/office/drawing/2014/main" id="{34603D65-F084-44AB-BF65-3AE519DA5EE6}"/>
                </a:ext>
              </a:extLst>
            </p:cNvPr>
            <p:cNvSpPr>
              <a:spLocks noChangeArrowheads="1"/>
            </p:cNvSpPr>
            <p:nvPr/>
          </p:nvSpPr>
          <p:spPr bwMode="auto">
            <a:xfrm>
              <a:off x="5469112" y="209734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5" name="Oval 106">
              <a:extLst>
                <a:ext uri="{FF2B5EF4-FFF2-40B4-BE49-F238E27FC236}">
                  <a16:creationId xmlns:a16="http://schemas.microsoft.com/office/drawing/2014/main" id="{7F3B64E3-B596-4AB6-A842-A4A6657D4DC1}"/>
                </a:ext>
              </a:extLst>
            </p:cNvPr>
            <p:cNvSpPr>
              <a:spLocks noChangeArrowheads="1"/>
            </p:cNvSpPr>
            <p:nvPr/>
          </p:nvSpPr>
          <p:spPr bwMode="auto">
            <a:xfrm>
              <a:off x="8938590" y="5404851"/>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6" name="Oval 117">
              <a:extLst>
                <a:ext uri="{FF2B5EF4-FFF2-40B4-BE49-F238E27FC236}">
                  <a16:creationId xmlns:a16="http://schemas.microsoft.com/office/drawing/2014/main" id="{6DBB48EC-657E-40C0-B019-B469EFD7BDB0}"/>
                </a:ext>
              </a:extLst>
            </p:cNvPr>
            <p:cNvSpPr>
              <a:spLocks noChangeArrowheads="1"/>
            </p:cNvSpPr>
            <p:nvPr/>
          </p:nvSpPr>
          <p:spPr bwMode="auto">
            <a:xfrm>
              <a:off x="6221184" y="4977350"/>
              <a:ext cx="179363" cy="17936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7" name="Oval 124">
              <a:extLst>
                <a:ext uri="{FF2B5EF4-FFF2-40B4-BE49-F238E27FC236}">
                  <a16:creationId xmlns:a16="http://schemas.microsoft.com/office/drawing/2014/main" id="{62DF0BCF-457E-4B65-94E2-A1111C198E2E}"/>
                </a:ext>
              </a:extLst>
            </p:cNvPr>
            <p:cNvSpPr>
              <a:spLocks noChangeArrowheads="1"/>
            </p:cNvSpPr>
            <p:nvPr/>
          </p:nvSpPr>
          <p:spPr bwMode="auto">
            <a:xfrm>
              <a:off x="10012316" y="3546139"/>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8" name="Oval 126">
              <a:extLst>
                <a:ext uri="{FF2B5EF4-FFF2-40B4-BE49-F238E27FC236}">
                  <a16:creationId xmlns:a16="http://schemas.microsoft.com/office/drawing/2014/main" id="{C9A7FEBC-E65E-4BB3-965F-9002467E1FBA}"/>
                </a:ext>
              </a:extLst>
            </p:cNvPr>
            <p:cNvSpPr>
              <a:spLocks noChangeArrowheads="1"/>
            </p:cNvSpPr>
            <p:nvPr/>
          </p:nvSpPr>
          <p:spPr bwMode="auto">
            <a:xfrm>
              <a:off x="8851634" y="2784058"/>
              <a:ext cx="191086" cy="19108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9" name="Oval 129">
              <a:extLst>
                <a:ext uri="{FF2B5EF4-FFF2-40B4-BE49-F238E27FC236}">
                  <a16:creationId xmlns:a16="http://schemas.microsoft.com/office/drawing/2014/main" id="{CA89DA7D-E77E-4A81-AD72-D0AC886F39E7}"/>
                </a:ext>
              </a:extLst>
            </p:cNvPr>
            <p:cNvSpPr>
              <a:spLocks noChangeArrowheads="1"/>
            </p:cNvSpPr>
            <p:nvPr/>
          </p:nvSpPr>
          <p:spPr bwMode="auto">
            <a:xfrm>
              <a:off x="4634837" y="3946900"/>
              <a:ext cx="163490" cy="155553"/>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0" name="Oval 130">
              <a:extLst>
                <a:ext uri="{FF2B5EF4-FFF2-40B4-BE49-F238E27FC236}">
                  <a16:creationId xmlns:a16="http://schemas.microsoft.com/office/drawing/2014/main" id="{69BDC94E-A275-4A73-824C-DEB7087AEB33}"/>
                </a:ext>
              </a:extLst>
            </p:cNvPr>
            <p:cNvSpPr>
              <a:spLocks noChangeArrowheads="1"/>
            </p:cNvSpPr>
            <p:nvPr/>
          </p:nvSpPr>
          <p:spPr bwMode="auto">
            <a:xfrm>
              <a:off x="4657115" y="3448184"/>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Oval 135">
              <a:extLst>
                <a:ext uri="{FF2B5EF4-FFF2-40B4-BE49-F238E27FC236}">
                  <a16:creationId xmlns:a16="http://schemas.microsoft.com/office/drawing/2014/main" id="{880951EC-6525-485C-8F20-2DDC3AE541E8}"/>
                </a:ext>
              </a:extLst>
            </p:cNvPr>
            <p:cNvSpPr>
              <a:spLocks noChangeArrowheads="1"/>
            </p:cNvSpPr>
            <p:nvPr/>
          </p:nvSpPr>
          <p:spPr bwMode="auto">
            <a:xfrm>
              <a:off x="5513321" y="3403271"/>
              <a:ext cx="215935" cy="20545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2" name="Oval 141">
              <a:extLst>
                <a:ext uri="{FF2B5EF4-FFF2-40B4-BE49-F238E27FC236}">
                  <a16:creationId xmlns:a16="http://schemas.microsoft.com/office/drawing/2014/main" id="{CBF1DBE6-3EC7-4912-AFE1-1646F8908C70}"/>
                </a:ext>
              </a:extLst>
            </p:cNvPr>
            <p:cNvSpPr>
              <a:spLocks noChangeArrowheads="1"/>
            </p:cNvSpPr>
            <p:nvPr/>
          </p:nvSpPr>
          <p:spPr bwMode="auto">
            <a:xfrm>
              <a:off x="7528943" y="4098819"/>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3" name="Oval 142">
              <a:extLst>
                <a:ext uri="{FF2B5EF4-FFF2-40B4-BE49-F238E27FC236}">
                  <a16:creationId xmlns:a16="http://schemas.microsoft.com/office/drawing/2014/main" id="{FC21E764-625E-49E7-89D6-7A1FC9E83A53}"/>
                </a:ext>
              </a:extLst>
            </p:cNvPr>
            <p:cNvSpPr>
              <a:spLocks noChangeArrowheads="1"/>
            </p:cNvSpPr>
            <p:nvPr/>
          </p:nvSpPr>
          <p:spPr bwMode="auto">
            <a:xfrm>
              <a:off x="6425437" y="5403906"/>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4" name="Oval 146">
              <a:extLst>
                <a:ext uri="{FF2B5EF4-FFF2-40B4-BE49-F238E27FC236}">
                  <a16:creationId xmlns:a16="http://schemas.microsoft.com/office/drawing/2014/main" id="{E7639564-C95C-403C-B8D4-966A56451490}"/>
                </a:ext>
              </a:extLst>
            </p:cNvPr>
            <p:cNvSpPr>
              <a:spLocks noChangeArrowheads="1"/>
            </p:cNvSpPr>
            <p:nvPr/>
          </p:nvSpPr>
          <p:spPr bwMode="auto">
            <a:xfrm>
              <a:off x="10494466" y="2629577"/>
              <a:ext cx="147617" cy="149204"/>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5" name="Oval 150">
              <a:extLst>
                <a:ext uri="{FF2B5EF4-FFF2-40B4-BE49-F238E27FC236}">
                  <a16:creationId xmlns:a16="http://schemas.microsoft.com/office/drawing/2014/main" id="{DCEB862E-03CE-438E-B182-20F4D6007C4B}"/>
                </a:ext>
              </a:extLst>
            </p:cNvPr>
            <p:cNvSpPr>
              <a:spLocks noChangeArrowheads="1"/>
            </p:cNvSpPr>
            <p:nvPr/>
          </p:nvSpPr>
          <p:spPr bwMode="auto">
            <a:xfrm>
              <a:off x="10180701" y="1766744"/>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6" name="Oval 151">
              <a:extLst>
                <a:ext uri="{FF2B5EF4-FFF2-40B4-BE49-F238E27FC236}">
                  <a16:creationId xmlns:a16="http://schemas.microsoft.com/office/drawing/2014/main" id="{49515B76-CCFD-4B47-B39A-580CB854D207}"/>
                </a:ext>
              </a:extLst>
            </p:cNvPr>
            <p:cNvSpPr>
              <a:spLocks noChangeArrowheads="1"/>
            </p:cNvSpPr>
            <p:nvPr/>
          </p:nvSpPr>
          <p:spPr bwMode="auto">
            <a:xfrm>
              <a:off x="7629920" y="2997054"/>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7" name="Oval 153">
              <a:extLst>
                <a:ext uri="{FF2B5EF4-FFF2-40B4-BE49-F238E27FC236}">
                  <a16:creationId xmlns:a16="http://schemas.microsoft.com/office/drawing/2014/main" id="{2DA80006-8F43-4762-B798-C0F7FB3D8BCC}"/>
                </a:ext>
              </a:extLst>
            </p:cNvPr>
            <p:cNvSpPr>
              <a:spLocks noChangeArrowheads="1"/>
            </p:cNvSpPr>
            <p:nvPr/>
          </p:nvSpPr>
          <p:spPr bwMode="auto">
            <a:xfrm>
              <a:off x="10081775" y="5373895"/>
              <a:ext cx="171426"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8" name="Oval 130">
              <a:extLst>
                <a:ext uri="{FF2B5EF4-FFF2-40B4-BE49-F238E27FC236}">
                  <a16:creationId xmlns:a16="http://schemas.microsoft.com/office/drawing/2014/main" id="{F9A3E749-A420-49AF-B54D-08D86A0CCAA1}"/>
                </a:ext>
              </a:extLst>
            </p:cNvPr>
            <p:cNvSpPr>
              <a:spLocks noChangeArrowheads="1"/>
            </p:cNvSpPr>
            <p:nvPr/>
          </p:nvSpPr>
          <p:spPr bwMode="auto">
            <a:xfrm>
              <a:off x="7239644" y="5428349"/>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9" name="Oval 130">
              <a:extLst>
                <a:ext uri="{FF2B5EF4-FFF2-40B4-BE49-F238E27FC236}">
                  <a16:creationId xmlns:a16="http://schemas.microsoft.com/office/drawing/2014/main" id="{5BB9CF49-3DC5-428F-B48B-86AC4DC7B46F}"/>
                </a:ext>
              </a:extLst>
            </p:cNvPr>
            <p:cNvSpPr>
              <a:spLocks noChangeArrowheads="1"/>
            </p:cNvSpPr>
            <p:nvPr/>
          </p:nvSpPr>
          <p:spPr bwMode="auto">
            <a:xfrm>
              <a:off x="8073866" y="5425485"/>
              <a:ext cx="111110" cy="106348"/>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0" name="Oval 127">
              <a:extLst>
                <a:ext uri="{FF2B5EF4-FFF2-40B4-BE49-F238E27FC236}">
                  <a16:creationId xmlns:a16="http://schemas.microsoft.com/office/drawing/2014/main" id="{21FD4CC7-D4FB-4383-B70F-4C99E6D8AF87}"/>
                </a:ext>
              </a:extLst>
            </p:cNvPr>
            <p:cNvSpPr>
              <a:spLocks noChangeArrowheads="1"/>
            </p:cNvSpPr>
            <p:nvPr/>
          </p:nvSpPr>
          <p:spPr bwMode="auto">
            <a:xfrm>
              <a:off x="8554360" y="4882163"/>
              <a:ext cx="163490" cy="16349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1" name="Oval 106">
              <a:extLst>
                <a:ext uri="{FF2B5EF4-FFF2-40B4-BE49-F238E27FC236}">
                  <a16:creationId xmlns:a16="http://schemas.microsoft.com/office/drawing/2014/main" id="{9F30BB94-C064-428F-958A-6D719CB476C2}"/>
                </a:ext>
              </a:extLst>
            </p:cNvPr>
            <p:cNvSpPr>
              <a:spLocks noChangeArrowheads="1"/>
            </p:cNvSpPr>
            <p:nvPr/>
          </p:nvSpPr>
          <p:spPr bwMode="auto">
            <a:xfrm>
              <a:off x="10739956" y="5367036"/>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2" name="Oval 106">
              <a:extLst>
                <a:ext uri="{FF2B5EF4-FFF2-40B4-BE49-F238E27FC236}">
                  <a16:creationId xmlns:a16="http://schemas.microsoft.com/office/drawing/2014/main" id="{7F3F63CB-BFAF-4115-A3AD-206D92F517C7}"/>
                </a:ext>
              </a:extLst>
            </p:cNvPr>
            <p:cNvSpPr>
              <a:spLocks noChangeArrowheads="1"/>
            </p:cNvSpPr>
            <p:nvPr/>
          </p:nvSpPr>
          <p:spPr bwMode="auto">
            <a:xfrm>
              <a:off x="11509004" y="497806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3" name="Oval 106">
              <a:extLst>
                <a:ext uri="{FF2B5EF4-FFF2-40B4-BE49-F238E27FC236}">
                  <a16:creationId xmlns:a16="http://schemas.microsoft.com/office/drawing/2014/main" id="{177CF800-A8F5-4FED-A09A-11806686CB25}"/>
                </a:ext>
              </a:extLst>
            </p:cNvPr>
            <p:cNvSpPr>
              <a:spLocks noChangeArrowheads="1"/>
            </p:cNvSpPr>
            <p:nvPr/>
          </p:nvSpPr>
          <p:spPr bwMode="auto">
            <a:xfrm>
              <a:off x="11193204" y="2841355"/>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4" name="Oval 98">
              <a:extLst>
                <a:ext uri="{FF2B5EF4-FFF2-40B4-BE49-F238E27FC236}">
                  <a16:creationId xmlns:a16="http://schemas.microsoft.com/office/drawing/2014/main" id="{504AF2E7-EFD3-4EA5-8315-B79EA04625F3}"/>
                </a:ext>
              </a:extLst>
            </p:cNvPr>
            <p:cNvSpPr>
              <a:spLocks noChangeArrowheads="1"/>
            </p:cNvSpPr>
            <p:nvPr/>
          </p:nvSpPr>
          <p:spPr bwMode="auto">
            <a:xfrm>
              <a:off x="4908465" y="266545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5" name="Oval 98">
              <a:extLst>
                <a:ext uri="{FF2B5EF4-FFF2-40B4-BE49-F238E27FC236}">
                  <a16:creationId xmlns:a16="http://schemas.microsoft.com/office/drawing/2014/main" id="{C19C4382-AFFB-48A5-A6D6-466DBB430011}"/>
                </a:ext>
              </a:extLst>
            </p:cNvPr>
            <p:cNvSpPr>
              <a:spLocks noChangeArrowheads="1"/>
            </p:cNvSpPr>
            <p:nvPr/>
          </p:nvSpPr>
          <p:spPr bwMode="auto">
            <a:xfrm>
              <a:off x="8755224" y="892359"/>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6" name="Oval 150">
              <a:extLst>
                <a:ext uri="{FF2B5EF4-FFF2-40B4-BE49-F238E27FC236}">
                  <a16:creationId xmlns:a16="http://schemas.microsoft.com/office/drawing/2014/main" id="{A92D4CC4-B9CB-4E74-8D24-2A1BB0804128}"/>
                </a:ext>
              </a:extLst>
            </p:cNvPr>
            <p:cNvSpPr>
              <a:spLocks noChangeArrowheads="1"/>
            </p:cNvSpPr>
            <p:nvPr/>
          </p:nvSpPr>
          <p:spPr bwMode="auto">
            <a:xfrm>
              <a:off x="6805349" y="1789567"/>
              <a:ext cx="147617" cy="147617"/>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7" name="Oval 124">
              <a:extLst>
                <a:ext uri="{FF2B5EF4-FFF2-40B4-BE49-F238E27FC236}">
                  <a16:creationId xmlns:a16="http://schemas.microsoft.com/office/drawing/2014/main" id="{63E8E7C2-08F9-4A66-A754-E3AB66C042E2}"/>
                </a:ext>
              </a:extLst>
            </p:cNvPr>
            <p:cNvSpPr>
              <a:spLocks noChangeArrowheads="1"/>
            </p:cNvSpPr>
            <p:nvPr/>
          </p:nvSpPr>
          <p:spPr bwMode="auto">
            <a:xfrm>
              <a:off x="9803379" y="3054720"/>
              <a:ext cx="179363" cy="171426"/>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8" name="Oval 98">
              <a:extLst>
                <a:ext uri="{FF2B5EF4-FFF2-40B4-BE49-F238E27FC236}">
                  <a16:creationId xmlns:a16="http://schemas.microsoft.com/office/drawing/2014/main" id="{24AE62DF-B19E-435C-9245-690A40B502A3}"/>
                </a:ext>
              </a:extLst>
            </p:cNvPr>
            <p:cNvSpPr>
              <a:spLocks noChangeArrowheads="1"/>
            </p:cNvSpPr>
            <p:nvPr/>
          </p:nvSpPr>
          <p:spPr bwMode="auto">
            <a:xfrm>
              <a:off x="11111734" y="4268124"/>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09" name="Oval 98">
              <a:extLst>
                <a:ext uri="{FF2B5EF4-FFF2-40B4-BE49-F238E27FC236}">
                  <a16:creationId xmlns:a16="http://schemas.microsoft.com/office/drawing/2014/main" id="{6D95A917-6AFB-4539-A0E2-2B8B7096443E}"/>
                </a:ext>
              </a:extLst>
            </p:cNvPr>
            <p:cNvSpPr>
              <a:spLocks noChangeArrowheads="1"/>
            </p:cNvSpPr>
            <p:nvPr/>
          </p:nvSpPr>
          <p:spPr bwMode="auto">
            <a:xfrm>
              <a:off x="11752457" y="3430446"/>
              <a:ext cx="107935" cy="111110"/>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0" name="Oval 106">
              <a:extLst>
                <a:ext uri="{FF2B5EF4-FFF2-40B4-BE49-F238E27FC236}">
                  <a16:creationId xmlns:a16="http://schemas.microsoft.com/office/drawing/2014/main" id="{4650868F-ED56-4C7D-A2DE-5FE186889DBD}"/>
                </a:ext>
              </a:extLst>
            </p:cNvPr>
            <p:cNvSpPr>
              <a:spLocks noChangeArrowheads="1"/>
            </p:cNvSpPr>
            <p:nvPr/>
          </p:nvSpPr>
          <p:spPr bwMode="auto">
            <a:xfrm>
              <a:off x="9644325" y="1220520"/>
              <a:ext cx="122221" cy="126982"/>
            </a:xfrm>
            <a:prstGeom prst="ellipse">
              <a:avLst/>
            </a:prstGeom>
            <a:grpFill/>
            <a:ln>
              <a:noFill/>
            </a:ln>
            <a:effectLst>
              <a:outerShdw blurRad="101600" sx="101000" sy="101000" algn="ctr" rotWithShape="0">
                <a:prstClr val="black">
                  <a:alpha val="27000"/>
                </a:prstClr>
              </a:outerShdw>
            </a:effec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11" name="lines">
            <a:extLst>
              <a:ext uri="{FF2B5EF4-FFF2-40B4-BE49-F238E27FC236}">
                <a16:creationId xmlns:a16="http://schemas.microsoft.com/office/drawing/2014/main" id="{AE17129E-19A3-4003-9A1E-07B37F93B4B3}"/>
              </a:ext>
              <a:ext uri="{C183D7F6-B498-43B3-948B-1728B52AA6E4}">
                <adec:decorative xmlns:adec="http://schemas.microsoft.com/office/drawing/2017/decorative" xmlns="" val="1"/>
              </a:ext>
            </a:extLst>
          </p:cNvPr>
          <p:cNvGrpSpPr/>
          <p:nvPr/>
        </p:nvGrpSpPr>
        <p:grpSpPr>
          <a:xfrm>
            <a:off x="4383547" y="1605754"/>
            <a:ext cx="7239209" cy="4530700"/>
            <a:chOff x="4411683" y="1263617"/>
            <a:chExt cx="7239209" cy="4530700"/>
          </a:xfrm>
        </p:grpSpPr>
        <p:sp>
          <p:nvSpPr>
            <p:cNvPr id="212" name="Line 177">
              <a:extLst>
                <a:ext uri="{FF2B5EF4-FFF2-40B4-BE49-F238E27FC236}">
                  <a16:creationId xmlns:a16="http://schemas.microsoft.com/office/drawing/2014/main" id="{C0DF1030-8CAE-4332-9473-7EC67B9AEE06}"/>
                </a:ext>
              </a:extLst>
            </p:cNvPr>
            <p:cNvSpPr>
              <a:spLocks noChangeShapeType="1"/>
            </p:cNvSpPr>
            <p:nvPr/>
          </p:nvSpPr>
          <p:spPr bwMode="auto">
            <a:xfrm>
              <a:off x="6736256" y="3960251"/>
              <a:ext cx="587198" cy="527107"/>
            </a:xfrm>
            <a:prstGeom prst="line">
              <a:avLst/>
            </a:prstGeom>
            <a:noFill/>
            <a:ln w="6350" cap="flat">
              <a:solidFill>
                <a:schemeClr val="tx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3" name="Line 144">
              <a:extLst>
                <a:ext uri="{FF2B5EF4-FFF2-40B4-BE49-F238E27FC236}">
                  <a16:creationId xmlns:a16="http://schemas.microsoft.com/office/drawing/2014/main" id="{2145BBDE-9C94-4C2D-BDE7-E6115A31FCD1}"/>
                </a:ext>
              </a:extLst>
            </p:cNvPr>
            <p:cNvSpPr>
              <a:spLocks noChangeShapeType="1"/>
            </p:cNvSpPr>
            <p:nvPr/>
          </p:nvSpPr>
          <p:spPr bwMode="auto">
            <a:xfrm>
              <a:off x="6032785" y="5378210"/>
              <a:ext cx="180314" cy="4161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4" name="Line 161">
              <a:extLst>
                <a:ext uri="{FF2B5EF4-FFF2-40B4-BE49-F238E27FC236}">
                  <a16:creationId xmlns:a16="http://schemas.microsoft.com/office/drawing/2014/main" id="{C867ED91-BB58-4E0D-9699-AFDF7EA33670}"/>
                </a:ext>
              </a:extLst>
            </p:cNvPr>
            <p:cNvSpPr>
              <a:spLocks noChangeShapeType="1"/>
            </p:cNvSpPr>
            <p:nvPr/>
          </p:nvSpPr>
          <p:spPr bwMode="auto">
            <a:xfrm flipH="1">
              <a:off x="5045494" y="4625410"/>
              <a:ext cx="47981" cy="72483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5" name="Line 172">
              <a:extLst>
                <a:ext uri="{FF2B5EF4-FFF2-40B4-BE49-F238E27FC236}">
                  <a16:creationId xmlns:a16="http://schemas.microsoft.com/office/drawing/2014/main" id="{8DA90443-1388-46B6-AF3B-3BCB5124D99E}"/>
                </a:ext>
              </a:extLst>
            </p:cNvPr>
            <p:cNvSpPr>
              <a:spLocks noChangeShapeType="1"/>
            </p:cNvSpPr>
            <p:nvPr/>
          </p:nvSpPr>
          <p:spPr bwMode="auto">
            <a:xfrm flipH="1">
              <a:off x="6032783" y="4651797"/>
              <a:ext cx="87174" cy="69844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6" name="Line 155">
              <a:extLst>
                <a:ext uri="{FF2B5EF4-FFF2-40B4-BE49-F238E27FC236}">
                  <a16:creationId xmlns:a16="http://schemas.microsoft.com/office/drawing/2014/main" id="{4C914633-95AC-484B-9ACD-6AEF1A3C6708}"/>
                </a:ext>
              </a:extLst>
            </p:cNvPr>
            <p:cNvSpPr>
              <a:spLocks noChangeShapeType="1"/>
            </p:cNvSpPr>
            <p:nvPr/>
          </p:nvSpPr>
          <p:spPr bwMode="auto">
            <a:xfrm flipH="1">
              <a:off x="6131835" y="3960251"/>
              <a:ext cx="604419" cy="64924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7" name="Line 178">
              <a:extLst>
                <a:ext uri="{FF2B5EF4-FFF2-40B4-BE49-F238E27FC236}">
                  <a16:creationId xmlns:a16="http://schemas.microsoft.com/office/drawing/2014/main" id="{51B8FDA7-EE8E-47EC-9325-9B10BFD7A5F1}"/>
                </a:ext>
              </a:extLst>
            </p:cNvPr>
            <p:cNvSpPr>
              <a:spLocks noChangeShapeType="1"/>
            </p:cNvSpPr>
            <p:nvPr/>
          </p:nvSpPr>
          <p:spPr bwMode="auto">
            <a:xfrm flipH="1">
              <a:off x="7323454" y="3389218"/>
              <a:ext cx="102817" cy="10981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8" name="Freeform 120">
              <a:extLst>
                <a:ext uri="{FF2B5EF4-FFF2-40B4-BE49-F238E27FC236}">
                  <a16:creationId xmlns:a16="http://schemas.microsoft.com/office/drawing/2014/main" id="{349A3D56-5D48-44DE-8401-37BC56FDA9E6}"/>
                </a:ext>
              </a:extLst>
            </p:cNvPr>
            <p:cNvSpPr>
              <a:spLocks/>
            </p:cNvSpPr>
            <p:nvPr/>
          </p:nvSpPr>
          <p:spPr bwMode="auto">
            <a:xfrm>
              <a:off x="7314314" y="3190507"/>
              <a:ext cx="1341186" cy="1313584"/>
            </a:xfrm>
            <a:custGeom>
              <a:avLst/>
              <a:gdLst>
                <a:gd name="T0" fmla="*/ 587 w 587"/>
                <a:gd name="T1" fmla="*/ 0 h 628"/>
                <a:gd name="T2" fmla="*/ 500 w 587"/>
                <a:gd name="T3" fmla="*/ 306 h 628"/>
                <a:gd name="T4" fmla="*/ 0 w 587"/>
                <a:gd name="T5" fmla="*/ 628 h 628"/>
              </a:gdLst>
              <a:ahLst/>
              <a:cxnLst>
                <a:cxn ang="0">
                  <a:pos x="T0" y="T1"/>
                </a:cxn>
                <a:cxn ang="0">
                  <a:pos x="T2" y="T3"/>
                </a:cxn>
                <a:cxn ang="0">
                  <a:pos x="T4" y="T5"/>
                </a:cxn>
              </a:cxnLst>
              <a:rect l="0" t="0" r="r" b="b"/>
              <a:pathLst>
                <a:path w="587" h="628">
                  <a:moveTo>
                    <a:pt x="587" y="0"/>
                  </a:moveTo>
                  <a:lnTo>
                    <a:pt x="500" y="306"/>
                  </a:lnTo>
                  <a:lnTo>
                    <a:pt x="0" y="628"/>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9" name="Line 148">
              <a:extLst>
                <a:ext uri="{FF2B5EF4-FFF2-40B4-BE49-F238E27FC236}">
                  <a16:creationId xmlns:a16="http://schemas.microsoft.com/office/drawing/2014/main" id="{CABFD0BA-FC65-4559-8001-8BBD27CF0DB5}"/>
                </a:ext>
              </a:extLst>
            </p:cNvPr>
            <p:cNvSpPr>
              <a:spLocks noChangeShapeType="1"/>
            </p:cNvSpPr>
            <p:nvPr/>
          </p:nvSpPr>
          <p:spPr bwMode="auto">
            <a:xfrm flipV="1">
              <a:off x="6129097" y="4487358"/>
              <a:ext cx="1194356"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0" name="Line 152">
              <a:extLst>
                <a:ext uri="{FF2B5EF4-FFF2-40B4-BE49-F238E27FC236}">
                  <a16:creationId xmlns:a16="http://schemas.microsoft.com/office/drawing/2014/main" id="{AFE677E0-9FE5-4A2F-991C-DD0E91DFE703}"/>
                </a:ext>
              </a:extLst>
            </p:cNvPr>
            <p:cNvSpPr>
              <a:spLocks noChangeShapeType="1"/>
            </p:cNvSpPr>
            <p:nvPr/>
          </p:nvSpPr>
          <p:spPr bwMode="auto">
            <a:xfrm flipV="1">
              <a:off x="6736256" y="3389218"/>
              <a:ext cx="690014" cy="57103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1" name="Line 121">
              <a:extLst>
                <a:ext uri="{FF2B5EF4-FFF2-40B4-BE49-F238E27FC236}">
                  <a16:creationId xmlns:a16="http://schemas.microsoft.com/office/drawing/2014/main" id="{62233BFE-58E6-49DC-8BAA-A57E6B866B2D}"/>
                </a:ext>
              </a:extLst>
            </p:cNvPr>
            <p:cNvSpPr>
              <a:spLocks noChangeShapeType="1"/>
            </p:cNvSpPr>
            <p:nvPr/>
          </p:nvSpPr>
          <p:spPr bwMode="auto">
            <a:xfrm flipH="1" flipV="1">
              <a:off x="9807046" y="3941425"/>
              <a:ext cx="671734" cy="1296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2" name="Freeform 131">
              <a:extLst>
                <a:ext uri="{FF2B5EF4-FFF2-40B4-BE49-F238E27FC236}">
                  <a16:creationId xmlns:a16="http://schemas.microsoft.com/office/drawing/2014/main" id="{4BBEEB1E-1F06-4B9F-9830-3C88004C560B}"/>
                </a:ext>
              </a:extLst>
            </p:cNvPr>
            <p:cNvSpPr>
              <a:spLocks/>
            </p:cNvSpPr>
            <p:nvPr/>
          </p:nvSpPr>
          <p:spPr bwMode="auto">
            <a:xfrm>
              <a:off x="9599128" y="3449877"/>
              <a:ext cx="879654" cy="1098140"/>
            </a:xfrm>
            <a:custGeom>
              <a:avLst/>
              <a:gdLst>
                <a:gd name="T0" fmla="*/ 385 w 385"/>
                <a:gd name="T1" fmla="*/ 293 h 525"/>
                <a:gd name="T2" fmla="*/ 203 w 385"/>
                <a:gd name="T3" fmla="*/ 525 h 525"/>
                <a:gd name="T4" fmla="*/ 87 w 385"/>
                <a:gd name="T5" fmla="*/ 235 h 525"/>
                <a:gd name="T6" fmla="*/ 0 w 385"/>
                <a:gd name="T7" fmla="*/ 0 h 525"/>
              </a:gdLst>
              <a:ahLst/>
              <a:cxnLst>
                <a:cxn ang="0">
                  <a:pos x="T0" y="T1"/>
                </a:cxn>
                <a:cxn ang="0">
                  <a:pos x="T2" y="T3"/>
                </a:cxn>
                <a:cxn ang="0">
                  <a:pos x="T4" y="T5"/>
                </a:cxn>
                <a:cxn ang="0">
                  <a:pos x="T6" y="T7"/>
                </a:cxn>
              </a:cxnLst>
              <a:rect l="0" t="0" r="r" b="b"/>
              <a:pathLst>
                <a:path w="385" h="525">
                  <a:moveTo>
                    <a:pt x="385" y="293"/>
                  </a:moveTo>
                  <a:lnTo>
                    <a:pt x="203" y="525"/>
                  </a:lnTo>
                  <a:lnTo>
                    <a:pt x="87" y="235"/>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3" name="Line 132">
              <a:extLst>
                <a:ext uri="{FF2B5EF4-FFF2-40B4-BE49-F238E27FC236}">
                  <a16:creationId xmlns:a16="http://schemas.microsoft.com/office/drawing/2014/main" id="{DDA7883D-9BC7-4167-B862-AE232C5BB47F}"/>
                </a:ext>
              </a:extLst>
            </p:cNvPr>
            <p:cNvSpPr>
              <a:spLocks noChangeShapeType="1"/>
            </p:cNvSpPr>
            <p:nvPr/>
          </p:nvSpPr>
          <p:spPr bwMode="auto">
            <a:xfrm>
              <a:off x="10478782" y="4054377"/>
              <a:ext cx="406697" cy="5877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4" name="Freeform 133">
              <a:extLst>
                <a:ext uri="{FF2B5EF4-FFF2-40B4-BE49-F238E27FC236}">
                  <a16:creationId xmlns:a16="http://schemas.microsoft.com/office/drawing/2014/main" id="{6CE2E6AB-3E75-488E-AF51-8BB667E7D80D}"/>
                </a:ext>
              </a:extLst>
            </p:cNvPr>
            <p:cNvSpPr>
              <a:spLocks/>
            </p:cNvSpPr>
            <p:nvPr/>
          </p:nvSpPr>
          <p:spPr bwMode="auto">
            <a:xfrm>
              <a:off x="10062946" y="4556384"/>
              <a:ext cx="1587946" cy="77393"/>
            </a:xfrm>
            <a:custGeom>
              <a:avLst/>
              <a:gdLst>
                <a:gd name="T0" fmla="*/ 0 w 695"/>
                <a:gd name="T1" fmla="*/ 0 h 37"/>
                <a:gd name="T2" fmla="*/ 356 w 695"/>
                <a:gd name="T3" fmla="*/ 37 h 37"/>
                <a:gd name="T4" fmla="*/ 695 w 695"/>
                <a:gd name="T5" fmla="*/ 4 h 37"/>
              </a:gdLst>
              <a:ahLst/>
              <a:cxnLst>
                <a:cxn ang="0">
                  <a:pos x="T0" y="T1"/>
                </a:cxn>
                <a:cxn ang="0">
                  <a:pos x="T2" y="T3"/>
                </a:cxn>
                <a:cxn ang="0">
                  <a:pos x="T4" y="T5"/>
                </a:cxn>
              </a:cxnLst>
              <a:rect l="0" t="0" r="r" b="b"/>
              <a:pathLst>
                <a:path w="695" h="37">
                  <a:moveTo>
                    <a:pt x="0" y="0"/>
                  </a:moveTo>
                  <a:lnTo>
                    <a:pt x="356" y="37"/>
                  </a:lnTo>
                  <a:lnTo>
                    <a:pt x="695" y="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5" name="Line 135">
              <a:extLst>
                <a:ext uri="{FF2B5EF4-FFF2-40B4-BE49-F238E27FC236}">
                  <a16:creationId xmlns:a16="http://schemas.microsoft.com/office/drawing/2014/main" id="{C0E52C52-5EA1-48E8-8C81-5E7545125EB4}"/>
                </a:ext>
              </a:extLst>
            </p:cNvPr>
            <p:cNvSpPr>
              <a:spLocks noChangeShapeType="1"/>
            </p:cNvSpPr>
            <p:nvPr/>
          </p:nvSpPr>
          <p:spPr bwMode="auto">
            <a:xfrm>
              <a:off x="10876340" y="4633776"/>
              <a:ext cx="394462" cy="7090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6" name="Line 106">
              <a:extLst>
                <a:ext uri="{FF2B5EF4-FFF2-40B4-BE49-F238E27FC236}">
                  <a16:creationId xmlns:a16="http://schemas.microsoft.com/office/drawing/2014/main" id="{4D4063D4-EC26-43A5-8F08-4A765631243E}"/>
                </a:ext>
              </a:extLst>
            </p:cNvPr>
            <p:cNvSpPr>
              <a:spLocks noChangeShapeType="1"/>
            </p:cNvSpPr>
            <p:nvPr/>
          </p:nvSpPr>
          <p:spPr bwMode="auto">
            <a:xfrm flipH="1" flipV="1">
              <a:off x="8509418" y="1263617"/>
              <a:ext cx="580196" cy="64308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7" name="Freeform 183">
              <a:extLst>
                <a:ext uri="{FF2B5EF4-FFF2-40B4-BE49-F238E27FC236}">
                  <a16:creationId xmlns:a16="http://schemas.microsoft.com/office/drawing/2014/main" id="{DD44FFCF-E1AE-435E-95F6-06339F624E35}"/>
                </a:ext>
              </a:extLst>
            </p:cNvPr>
            <p:cNvSpPr>
              <a:spLocks/>
            </p:cNvSpPr>
            <p:nvPr/>
          </p:nvSpPr>
          <p:spPr bwMode="auto">
            <a:xfrm>
              <a:off x="7163516" y="2454230"/>
              <a:ext cx="1302345" cy="1367969"/>
            </a:xfrm>
            <a:custGeom>
              <a:avLst/>
              <a:gdLst>
                <a:gd name="T0" fmla="*/ 0 w 570"/>
                <a:gd name="T1" fmla="*/ 0 h 654"/>
                <a:gd name="T2" fmla="*/ 115 w 570"/>
                <a:gd name="T3" fmla="*/ 447 h 654"/>
                <a:gd name="T4" fmla="*/ 570 w 570"/>
                <a:gd name="T5" fmla="*/ 654 h 654"/>
              </a:gdLst>
              <a:ahLst/>
              <a:cxnLst>
                <a:cxn ang="0">
                  <a:pos x="T0" y="T1"/>
                </a:cxn>
                <a:cxn ang="0">
                  <a:pos x="T2" y="T3"/>
                </a:cxn>
                <a:cxn ang="0">
                  <a:pos x="T4" y="T5"/>
                </a:cxn>
              </a:cxnLst>
              <a:rect l="0" t="0" r="r" b="b"/>
              <a:pathLst>
                <a:path w="570" h="654">
                  <a:moveTo>
                    <a:pt x="0" y="0"/>
                  </a:moveTo>
                  <a:lnTo>
                    <a:pt x="115" y="447"/>
                  </a:lnTo>
                  <a:lnTo>
                    <a:pt x="570" y="65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8" name="Line 179">
              <a:extLst>
                <a:ext uri="{FF2B5EF4-FFF2-40B4-BE49-F238E27FC236}">
                  <a16:creationId xmlns:a16="http://schemas.microsoft.com/office/drawing/2014/main" id="{7D957610-B295-4952-A2FE-26025EDBD717}"/>
                </a:ext>
              </a:extLst>
            </p:cNvPr>
            <p:cNvSpPr>
              <a:spLocks noChangeShapeType="1"/>
            </p:cNvSpPr>
            <p:nvPr/>
          </p:nvSpPr>
          <p:spPr bwMode="auto">
            <a:xfrm flipV="1">
              <a:off x="7426270" y="3190507"/>
              <a:ext cx="1220091" cy="19871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29" name="Line 129">
              <a:extLst>
                <a:ext uri="{FF2B5EF4-FFF2-40B4-BE49-F238E27FC236}">
                  <a16:creationId xmlns:a16="http://schemas.microsoft.com/office/drawing/2014/main" id="{50971F35-4C4E-494A-934D-4EF3C47184C5}"/>
                </a:ext>
              </a:extLst>
            </p:cNvPr>
            <p:cNvSpPr>
              <a:spLocks noChangeShapeType="1"/>
            </p:cNvSpPr>
            <p:nvPr/>
          </p:nvSpPr>
          <p:spPr bwMode="auto">
            <a:xfrm flipH="1" flipV="1">
              <a:off x="9080476" y="1891563"/>
              <a:ext cx="482096" cy="76137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0" name="Line 130">
              <a:extLst>
                <a:ext uri="{FF2B5EF4-FFF2-40B4-BE49-F238E27FC236}">
                  <a16:creationId xmlns:a16="http://schemas.microsoft.com/office/drawing/2014/main" id="{2E467FF5-F6B2-415B-B646-E7FC1899458F}"/>
                </a:ext>
              </a:extLst>
            </p:cNvPr>
            <p:cNvSpPr>
              <a:spLocks noChangeShapeType="1"/>
            </p:cNvSpPr>
            <p:nvPr/>
          </p:nvSpPr>
          <p:spPr bwMode="auto">
            <a:xfrm flipH="1" flipV="1">
              <a:off x="9562572" y="2661308"/>
              <a:ext cx="36557" cy="78857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1" name="Line 119">
              <a:extLst>
                <a:ext uri="{FF2B5EF4-FFF2-40B4-BE49-F238E27FC236}">
                  <a16:creationId xmlns:a16="http://schemas.microsoft.com/office/drawing/2014/main" id="{D42ECE25-3FFE-4F5D-9918-295D82C70F29}"/>
                </a:ext>
              </a:extLst>
            </p:cNvPr>
            <p:cNvSpPr>
              <a:spLocks noChangeShapeType="1"/>
            </p:cNvSpPr>
            <p:nvPr/>
          </p:nvSpPr>
          <p:spPr bwMode="auto">
            <a:xfrm flipH="1">
              <a:off x="8646362" y="2652940"/>
              <a:ext cx="934489" cy="53756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2" name="Line 122">
              <a:extLst>
                <a:ext uri="{FF2B5EF4-FFF2-40B4-BE49-F238E27FC236}">
                  <a16:creationId xmlns:a16="http://schemas.microsoft.com/office/drawing/2014/main" id="{13100EF2-BA3C-424A-842C-069D20D84368}"/>
                </a:ext>
              </a:extLst>
            </p:cNvPr>
            <p:cNvSpPr>
              <a:spLocks noChangeShapeType="1"/>
            </p:cNvSpPr>
            <p:nvPr/>
          </p:nvSpPr>
          <p:spPr bwMode="auto">
            <a:xfrm>
              <a:off x="8456721" y="3830566"/>
              <a:ext cx="1606224" cy="73418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3" name="Line 123">
              <a:extLst>
                <a:ext uri="{FF2B5EF4-FFF2-40B4-BE49-F238E27FC236}">
                  <a16:creationId xmlns:a16="http://schemas.microsoft.com/office/drawing/2014/main" id="{E6D914BC-8E36-417B-833E-2D50E801D10C}"/>
                </a:ext>
              </a:extLst>
            </p:cNvPr>
            <p:cNvSpPr>
              <a:spLocks noChangeShapeType="1"/>
            </p:cNvSpPr>
            <p:nvPr/>
          </p:nvSpPr>
          <p:spPr bwMode="auto">
            <a:xfrm flipH="1" flipV="1">
              <a:off x="8465861" y="3830566"/>
              <a:ext cx="1341186" cy="11086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4" name="Line 140">
              <a:extLst>
                <a:ext uri="{FF2B5EF4-FFF2-40B4-BE49-F238E27FC236}">
                  <a16:creationId xmlns:a16="http://schemas.microsoft.com/office/drawing/2014/main" id="{FCFD356B-0A29-4984-B0EC-19AA1E4C6BEF}"/>
                </a:ext>
              </a:extLst>
            </p:cNvPr>
            <p:cNvSpPr>
              <a:spLocks noChangeShapeType="1"/>
            </p:cNvSpPr>
            <p:nvPr/>
          </p:nvSpPr>
          <p:spPr bwMode="auto">
            <a:xfrm>
              <a:off x="8456721" y="3830567"/>
              <a:ext cx="849951" cy="115272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5" name="Freeform 141">
              <a:extLst>
                <a:ext uri="{FF2B5EF4-FFF2-40B4-BE49-F238E27FC236}">
                  <a16:creationId xmlns:a16="http://schemas.microsoft.com/office/drawing/2014/main" id="{631544A5-B41B-480B-BB46-FABB8835B3A2}"/>
                </a:ext>
              </a:extLst>
            </p:cNvPr>
            <p:cNvSpPr>
              <a:spLocks/>
            </p:cNvSpPr>
            <p:nvPr/>
          </p:nvSpPr>
          <p:spPr bwMode="auto">
            <a:xfrm>
              <a:off x="8342481" y="3830566"/>
              <a:ext cx="349577" cy="1953644"/>
            </a:xfrm>
            <a:custGeom>
              <a:avLst/>
              <a:gdLst>
                <a:gd name="T0" fmla="*/ 50 w 153"/>
                <a:gd name="T1" fmla="*/ 0 h 934"/>
                <a:gd name="T2" fmla="*/ 0 w 153"/>
                <a:gd name="T3" fmla="*/ 694 h 934"/>
                <a:gd name="T4" fmla="*/ 153 w 153"/>
                <a:gd name="T5" fmla="*/ 934 h 934"/>
              </a:gdLst>
              <a:ahLst/>
              <a:cxnLst>
                <a:cxn ang="0">
                  <a:pos x="T0" y="T1"/>
                </a:cxn>
                <a:cxn ang="0">
                  <a:pos x="T2" y="T3"/>
                </a:cxn>
                <a:cxn ang="0">
                  <a:pos x="T4" y="T5"/>
                </a:cxn>
              </a:cxnLst>
              <a:rect l="0" t="0" r="r" b="b"/>
              <a:pathLst>
                <a:path w="153" h="934">
                  <a:moveTo>
                    <a:pt x="50" y="0"/>
                  </a:moveTo>
                  <a:lnTo>
                    <a:pt x="0" y="694"/>
                  </a:lnTo>
                  <a:lnTo>
                    <a:pt x="153" y="934"/>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6" name="Line 147">
              <a:extLst>
                <a:ext uri="{FF2B5EF4-FFF2-40B4-BE49-F238E27FC236}">
                  <a16:creationId xmlns:a16="http://schemas.microsoft.com/office/drawing/2014/main" id="{C227D24B-C485-41C2-9077-8AA900446CF1}"/>
                </a:ext>
              </a:extLst>
            </p:cNvPr>
            <p:cNvSpPr>
              <a:spLocks noChangeShapeType="1"/>
            </p:cNvSpPr>
            <p:nvPr/>
          </p:nvSpPr>
          <p:spPr bwMode="auto">
            <a:xfrm>
              <a:off x="7323454" y="4487358"/>
              <a:ext cx="1030452" cy="8053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7" name="Line 180">
              <a:extLst>
                <a:ext uri="{FF2B5EF4-FFF2-40B4-BE49-F238E27FC236}">
                  <a16:creationId xmlns:a16="http://schemas.microsoft.com/office/drawing/2014/main" id="{A83B4CFE-7269-4D34-882A-D97EFE420CC1}"/>
                </a:ext>
              </a:extLst>
            </p:cNvPr>
            <p:cNvSpPr>
              <a:spLocks noChangeShapeType="1"/>
            </p:cNvSpPr>
            <p:nvPr/>
          </p:nvSpPr>
          <p:spPr bwMode="auto">
            <a:xfrm>
              <a:off x="8646362" y="3190507"/>
              <a:ext cx="952768" cy="25937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8" name="Line 137">
              <a:extLst>
                <a:ext uri="{FF2B5EF4-FFF2-40B4-BE49-F238E27FC236}">
                  <a16:creationId xmlns:a16="http://schemas.microsoft.com/office/drawing/2014/main" id="{99C04065-13B4-40A5-9C75-EA897B90B1F6}"/>
                </a:ext>
              </a:extLst>
            </p:cNvPr>
            <p:cNvSpPr>
              <a:spLocks noChangeShapeType="1"/>
            </p:cNvSpPr>
            <p:nvPr/>
          </p:nvSpPr>
          <p:spPr bwMode="auto">
            <a:xfrm flipH="1" flipV="1">
              <a:off x="10072085" y="4548017"/>
              <a:ext cx="424976" cy="11943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39" name="Line 139">
              <a:extLst>
                <a:ext uri="{FF2B5EF4-FFF2-40B4-BE49-F238E27FC236}">
                  <a16:creationId xmlns:a16="http://schemas.microsoft.com/office/drawing/2014/main" id="{8793EEA9-F71C-4537-8810-8121E2B672E6}"/>
                </a:ext>
              </a:extLst>
            </p:cNvPr>
            <p:cNvSpPr>
              <a:spLocks noChangeShapeType="1"/>
            </p:cNvSpPr>
            <p:nvPr/>
          </p:nvSpPr>
          <p:spPr bwMode="auto">
            <a:xfrm flipH="1">
              <a:off x="9893869" y="4539651"/>
              <a:ext cx="169076" cy="123619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0" name="Line 142">
              <a:extLst>
                <a:ext uri="{FF2B5EF4-FFF2-40B4-BE49-F238E27FC236}">
                  <a16:creationId xmlns:a16="http://schemas.microsoft.com/office/drawing/2014/main" id="{5D9CD34E-CA9B-4951-8A4A-84B34B118E4A}"/>
                </a:ext>
              </a:extLst>
            </p:cNvPr>
            <p:cNvSpPr>
              <a:spLocks noChangeShapeType="1"/>
            </p:cNvSpPr>
            <p:nvPr/>
          </p:nvSpPr>
          <p:spPr bwMode="auto">
            <a:xfrm flipH="1">
              <a:off x="7257194" y="5282202"/>
              <a:ext cx="1067008" cy="1045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1" name="Line 145">
              <a:extLst>
                <a:ext uri="{FF2B5EF4-FFF2-40B4-BE49-F238E27FC236}">
                  <a16:creationId xmlns:a16="http://schemas.microsoft.com/office/drawing/2014/main" id="{57D2DB1B-AE2A-4090-9356-4B334EDACB88}"/>
                </a:ext>
              </a:extLst>
            </p:cNvPr>
            <p:cNvSpPr>
              <a:spLocks noChangeShapeType="1"/>
            </p:cNvSpPr>
            <p:nvPr/>
          </p:nvSpPr>
          <p:spPr bwMode="auto">
            <a:xfrm flipH="1">
              <a:off x="6253302" y="5282202"/>
              <a:ext cx="994753" cy="5020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2" name="Freeform 146">
              <a:extLst>
                <a:ext uri="{FF2B5EF4-FFF2-40B4-BE49-F238E27FC236}">
                  <a16:creationId xmlns:a16="http://schemas.microsoft.com/office/drawing/2014/main" id="{CEF6E22D-4C4F-43E5-BA22-6207A199DB9A}"/>
                </a:ext>
              </a:extLst>
            </p:cNvPr>
            <p:cNvSpPr>
              <a:spLocks/>
            </p:cNvSpPr>
            <p:nvPr/>
          </p:nvSpPr>
          <p:spPr bwMode="auto">
            <a:xfrm>
              <a:off x="7010434" y="4487358"/>
              <a:ext cx="303880" cy="1280118"/>
            </a:xfrm>
            <a:custGeom>
              <a:avLst/>
              <a:gdLst>
                <a:gd name="T0" fmla="*/ 133 w 133"/>
                <a:gd name="T1" fmla="*/ 0 h 612"/>
                <a:gd name="T2" fmla="*/ 104 w 133"/>
                <a:gd name="T3" fmla="*/ 385 h 612"/>
                <a:gd name="T4" fmla="*/ 0 w 133"/>
                <a:gd name="T5" fmla="*/ 612 h 612"/>
              </a:gdLst>
              <a:ahLst/>
              <a:cxnLst>
                <a:cxn ang="0">
                  <a:pos x="T0" y="T1"/>
                </a:cxn>
                <a:cxn ang="0">
                  <a:pos x="T2" y="T3"/>
                </a:cxn>
                <a:cxn ang="0">
                  <a:pos x="T4" y="T5"/>
                </a:cxn>
              </a:cxnLst>
              <a:rect l="0" t="0" r="r" b="b"/>
              <a:pathLst>
                <a:path w="133" h="612">
                  <a:moveTo>
                    <a:pt x="133" y="0"/>
                  </a:moveTo>
                  <a:lnTo>
                    <a:pt x="104" y="385"/>
                  </a:lnTo>
                  <a:lnTo>
                    <a:pt x="0" y="612"/>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3" name="Line 149">
              <a:extLst>
                <a:ext uri="{FF2B5EF4-FFF2-40B4-BE49-F238E27FC236}">
                  <a16:creationId xmlns:a16="http://schemas.microsoft.com/office/drawing/2014/main" id="{1A0D19C6-9D9C-4303-A1EA-14F69CA5BABC}"/>
                </a:ext>
              </a:extLst>
            </p:cNvPr>
            <p:cNvSpPr>
              <a:spLocks noChangeShapeType="1"/>
            </p:cNvSpPr>
            <p:nvPr/>
          </p:nvSpPr>
          <p:spPr bwMode="auto">
            <a:xfrm flipV="1">
              <a:off x="5045491" y="4641932"/>
              <a:ext cx="1056672" cy="7083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4" name="Line 162">
              <a:extLst>
                <a:ext uri="{FF2B5EF4-FFF2-40B4-BE49-F238E27FC236}">
                  <a16:creationId xmlns:a16="http://schemas.microsoft.com/office/drawing/2014/main" id="{094AE621-4A30-4C0F-BDA6-9828ADD1097E}"/>
                </a:ext>
              </a:extLst>
            </p:cNvPr>
            <p:cNvSpPr>
              <a:spLocks noChangeShapeType="1"/>
            </p:cNvSpPr>
            <p:nvPr/>
          </p:nvSpPr>
          <p:spPr bwMode="auto">
            <a:xfrm>
              <a:off x="5068037" y="5358607"/>
              <a:ext cx="954793" cy="291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5" name="Line 163">
              <a:extLst>
                <a:ext uri="{FF2B5EF4-FFF2-40B4-BE49-F238E27FC236}">
                  <a16:creationId xmlns:a16="http://schemas.microsoft.com/office/drawing/2014/main" id="{1700FD98-ED73-45D0-8AE6-C7510D32E96B}"/>
                </a:ext>
              </a:extLst>
            </p:cNvPr>
            <p:cNvSpPr>
              <a:spLocks noChangeShapeType="1"/>
            </p:cNvSpPr>
            <p:nvPr/>
          </p:nvSpPr>
          <p:spPr bwMode="auto">
            <a:xfrm>
              <a:off x="4455825" y="4334604"/>
              <a:ext cx="637651" cy="299172"/>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6" name="Line 164">
              <a:extLst>
                <a:ext uri="{FF2B5EF4-FFF2-40B4-BE49-F238E27FC236}">
                  <a16:creationId xmlns:a16="http://schemas.microsoft.com/office/drawing/2014/main" id="{D9E3EF13-AE93-4CBE-9ADB-871A3D2B2239}"/>
                </a:ext>
              </a:extLst>
            </p:cNvPr>
            <p:cNvSpPr>
              <a:spLocks noChangeShapeType="1"/>
            </p:cNvSpPr>
            <p:nvPr/>
          </p:nvSpPr>
          <p:spPr bwMode="auto">
            <a:xfrm flipH="1">
              <a:off x="5093475" y="4624269"/>
              <a:ext cx="1008689" cy="950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7" name="Line 173">
              <a:extLst>
                <a:ext uri="{FF2B5EF4-FFF2-40B4-BE49-F238E27FC236}">
                  <a16:creationId xmlns:a16="http://schemas.microsoft.com/office/drawing/2014/main" id="{B7F4FF24-C35F-4E91-ABB8-B67374B2EB42}"/>
                </a:ext>
              </a:extLst>
            </p:cNvPr>
            <p:cNvSpPr>
              <a:spLocks noChangeShapeType="1"/>
            </p:cNvSpPr>
            <p:nvPr/>
          </p:nvSpPr>
          <p:spPr bwMode="auto">
            <a:xfrm>
              <a:off x="6129097" y="4633776"/>
              <a:ext cx="1118958" cy="64842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8" name="Line 174">
              <a:extLst>
                <a:ext uri="{FF2B5EF4-FFF2-40B4-BE49-F238E27FC236}">
                  <a16:creationId xmlns:a16="http://schemas.microsoft.com/office/drawing/2014/main" id="{83B2A655-96DF-45BC-9E9F-BC9A70C9D3CB}"/>
                </a:ext>
              </a:extLst>
            </p:cNvPr>
            <p:cNvSpPr>
              <a:spLocks noChangeShapeType="1"/>
            </p:cNvSpPr>
            <p:nvPr/>
          </p:nvSpPr>
          <p:spPr bwMode="auto">
            <a:xfrm flipV="1">
              <a:off x="6000546" y="5292661"/>
              <a:ext cx="1238369"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49" name="Line 175">
              <a:extLst>
                <a:ext uri="{FF2B5EF4-FFF2-40B4-BE49-F238E27FC236}">
                  <a16:creationId xmlns:a16="http://schemas.microsoft.com/office/drawing/2014/main" id="{B115E4FF-4C55-4B17-874B-12B8449B2D81}"/>
                </a:ext>
              </a:extLst>
            </p:cNvPr>
            <p:cNvSpPr>
              <a:spLocks noChangeShapeType="1"/>
            </p:cNvSpPr>
            <p:nvPr/>
          </p:nvSpPr>
          <p:spPr bwMode="auto">
            <a:xfrm>
              <a:off x="7238915" y="5282202"/>
              <a:ext cx="584912" cy="493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0" name="Line 176">
              <a:extLst>
                <a:ext uri="{FF2B5EF4-FFF2-40B4-BE49-F238E27FC236}">
                  <a16:creationId xmlns:a16="http://schemas.microsoft.com/office/drawing/2014/main" id="{AE90ADF2-367E-4F86-A13B-DD26CB9F2DD5}"/>
                </a:ext>
              </a:extLst>
            </p:cNvPr>
            <p:cNvSpPr>
              <a:spLocks noChangeShapeType="1"/>
            </p:cNvSpPr>
            <p:nvPr/>
          </p:nvSpPr>
          <p:spPr bwMode="auto">
            <a:xfrm flipH="1">
              <a:off x="7850760" y="5282201"/>
              <a:ext cx="491719" cy="51020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1" name="Line 185">
              <a:extLst>
                <a:ext uri="{FF2B5EF4-FFF2-40B4-BE49-F238E27FC236}">
                  <a16:creationId xmlns:a16="http://schemas.microsoft.com/office/drawing/2014/main" id="{3F5EEE8E-91F2-46B8-8F5C-F06B755743DB}"/>
                </a:ext>
              </a:extLst>
            </p:cNvPr>
            <p:cNvSpPr>
              <a:spLocks noChangeShapeType="1"/>
            </p:cNvSpPr>
            <p:nvPr/>
          </p:nvSpPr>
          <p:spPr bwMode="auto">
            <a:xfrm flipV="1">
              <a:off x="10478782" y="3795755"/>
              <a:ext cx="1035147" cy="2669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2" name="Freeform 186">
              <a:extLst>
                <a:ext uri="{FF2B5EF4-FFF2-40B4-BE49-F238E27FC236}">
                  <a16:creationId xmlns:a16="http://schemas.microsoft.com/office/drawing/2014/main" id="{2803FE0E-11B3-43F6-80AD-198F6EF233E3}"/>
                </a:ext>
              </a:extLst>
            </p:cNvPr>
            <p:cNvSpPr>
              <a:spLocks/>
            </p:cNvSpPr>
            <p:nvPr/>
          </p:nvSpPr>
          <p:spPr bwMode="auto">
            <a:xfrm>
              <a:off x="10506200" y="3795756"/>
              <a:ext cx="1016928" cy="1946619"/>
            </a:xfrm>
            <a:custGeom>
              <a:avLst/>
              <a:gdLst>
                <a:gd name="T0" fmla="*/ 0 w 463"/>
                <a:gd name="T1" fmla="*/ 927 h 927"/>
                <a:gd name="T2" fmla="*/ 166 w 463"/>
                <a:gd name="T3" fmla="*/ 393 h 927"/>
                <a:gd name="T4" fmla="*/ 463 w 463"/>
                <a:gd name="T5" fmla="*/ 0 h 927"/>
              </a:gdLst>
              <a:ahLst/>
              <a:cxnLst>
                <a:cxn ang="0">
                  <a:pos x="T0" y="T1"/>
                </a:cxn>
                <a:cxn ang="0">
                  <a:pos x="T2" y="T3"/>
                </a:cxn>
                <a:cxn ang="0">
                  <a:pos x="T4" y="T5"/>
                </a:cxn>
              </a:cxnLst>
              <a:rect l="0" t="0" r="r" b="b"/>
              <a:pathLst>
                <a:path w="463" h="927">
                  <a:moveTo>
                    <a:pt x="0" y="927"/>
                  </a:moveTo>
                  <a:lnTo>
                    <a:pt x="166" y="393"/>
                  </a:lnTo>
                  <a:lnTo>
                    <a:pt x="463"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3" name="Line 107">
              <a:extLst>
                <a:ext uri="{FF2B5EF4-FFF2-40B4-BE49-F238E27FC236}">
                  <a16:creationId xmlns:a16="http://schemas.microsoft.com/office/drawing/2014/main" id="{C543ACDF-79BE-4B45-9DD5-E758C62434F0}"/>
                </a:ext>
              </a:extLst>
            </p:cNvPr>
            <p:cNvSpPr>
              <a:spLocks noChangeShapeType="1"/>
            </p:cNvSpPr>
            <p:nvPr/>
          </p:nvSpPr>
          <p:spPr bwMode="auto">
            <a:xfrm flipH="1">
              <a:off x="5714943" y="2194775"/>
              <a:ext cx="874849" cy="56961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4" name="Line 112">
              <a:extLst>
                <a:ext uri="{FF2B5EF4-FFF2-40B4-BE49-F238E27FC236}">
                  <a16:creationId xmlns:a16="http://schemas.microsoft.com/office/drawing/2014/main" id="{B88EC6CE-F6C4-4502-84D3-B01136F2CE33}"/>
                </a:ext>
              </a:extLst>
            </p:cNvPr>
            <p:cNvSpPr>
              <a:spLocks noChangeShapeType="1"/>
            </p:cNvSpPr>
            <p:nvPr/>
          </p:nvSpPr>
          <p:spPr bwMode="auto">
            <a:xfrm flipV="1">
              <a:off x="4674978" y="2812124"/>
              <a:ext cx="914257" cy="22115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5" name="Line 181">
              <a:extLst>
                <a:ext uri="{FF2B5EF4-FFF2-40B4-BE49-F238E27FC236}">
                  <a16:creationId xmlns:a16="http://schemas.microsoft.com/office/drawing/2014/main" id="{71A179CE-5CB4-4DFE-8611-0DF8E1CE1B1D}"/>
                </a:ext>
              </a:extLst>
            </p:cNvPr>
            <p:cNvSpPr>
              <a:spLocks noChangeShapeType="1"/>
            </p:cNvSpPr>
            <p:nvPr/>
          </p:nvSpPr>
          <p:spPr bwMode="auto">
            <a:xfrm>
              <a:off x="4705055" y="3041644"/>
              <a:ext cx="1560528" cy="27854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6" name="Line 108">
              <a:extLst>
                <a:ext uri="{FF2B5EF4-FFF2-40B4-BE49-F238E27FC236}">
                  <a16:creationId xmlns:a16="http://schemas.microsoft.com/office/drawing/2014/main" id="{813C6BFB-11C2-49B1-A675-4840B626E4D0}"/>
                </a:ext>
              </a:extLst>
            </p:cNvPr>
            <p:cNvSpPr>
              <a:spLocks noChangeShapeType="1"/>
            </p:cNvSpPr>
            <p:nvPr/>
          </p:nvSpPr>
          <p:spPr bwMode="auto">
            <a:xfrm>
              <a:off x="5215420" y="2470510"/>
              <a:ext cx="435050" cy="3095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7" name="Line 111">
              <a:extLst>
                <a:ext uri="{FF2B5EF4-FFF2-40B4-BE49-F238E27FC236}">
                  <a16:creationId xmlns:a16="http://schemas.microsoft.com/office/drawing/2014/main" id="{4A9333E2-E8E2-447D-B325-CD367D7C42F8}"/>
                </a:ext>
              </a:extLst>
            </p:cNvPr>
            <p:cNvSpPr>
              <a:spLocks noChangeShapeType="1"/>
            </p:cNvSpPr>
            <p:nvPr/>
          </p:nvSpPr>
          <p:spPr bwMode="auto">
            <a:xfrm>
              <a:off x="5688463" y="2835270"/>
              <a:ext cx="556558" cy="48492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8" name="Line 115">
              <a:extLst>
                <a:ext uri="{FF2B5EF4-FFF2-40B4-BE49-F238E27FC236}">
                  <a16:creationId xmlns:a16="http://schemas.microsoft.com/office/drawing/2014/main" id="{DAF149D9-8B71-49EB-96D5-C1E15D24C68D}"/>
                </a:ext>
              </a:extLst>
            </p:cNvPr>
            <p:cNvSpPr>
              <a:spLocks noChangeShapeType="1"/>
            </p:cNvSpPr>
            <p:nvPr/>
          </p:nvSpPr>
          <p:spPr bwMode="auto">
            <a:xfrm flipH="1" flipV="1">
              <a:off x="10277660" y="3026658"/>
              <a:ext cx="201060" cy="102771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59" name="Line 117">
              <a:extLst>
                <a:ext uri="{FF2B5EF4-FFF2-40B4-BE49-F238E27FC236}">
                  <a16:creationId xmlns:a16="http://schemas.microsoft.com/office/drawing/2014/main" id="{4DBC0199-5E26-489A-A4EF-F823840F0F85}"/>
                </a:ext>
              </a:extLst>
            </p:cNvPr>
            <p:cNvSpPr>
              <a:spLocks noChangeShapeType="1"/>
            </p:cNvSpPr>
            <p:nvPr/>
          </p:nvSpPr>
          <p:spPr bwMode="auto">
            <a:xfrm flipV="1">
              <a:off x="7161230" y="1899930"/>
              <a:ext cx="1928384" cy="51532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0" name="Freeform 116">
              <a:extLst>
                <a:ext uri="{FF2B5EF4-FFF2-40B4-BE49-F238E27FC236}">
                  <a16:creationId xmlns:a16="http://schemas.microsoft.com/office/drawing/2014/main" id="{16655776-8542-4EDF-9BE8-310DF56DDF43}"/>
                </a:ext>
              </a:extLst>
            </p:cNvPr>
            <p:cNvSpPr>
              <a:spLocks/>
            </p:cNvSpPr>
            <p:nvPr/>
          </p:nvSpPr>
          <p:spPr bwMode="auto">
            <a:xfrm>
              <a:off x="7483390" y="1477408"/>
              <a:ext cx="1597085" cy="430889"/>
            </a:xfrm>
            <a:custGeom>
              <a:avLst/>
              <a:gdLst>
                <a:gd name="T0" fmla="*/ 695 w 699"/>
                <a:gd name="T1" fmla="*/ 206 h 206"/>
                <a:gd name="T2" fmla="*/ 699 w 699"/>
                <a:gd name="T3" fmla="*/ 202 h 206"/>
                <a:gd name="T4" fmla="*/ 0 w 699"/>
                <a:gd name="T5" fmla="*/ 0 h 206"/>
              </a:gdLst>
              <a:ahLst/>
              <a:cxnLst>
                <a:cxn ang="0">
                  <a:pos x="T0" y="T1"/>
                </a:cxn>
                <a:cxn ang="0">
                  <a:pos x="T2" y="T3"/>
                </a:cxn>
                <a:cxn ang="0">
                  <a:pos x="T4" y="T5"/>
                </a:cxn>
              </a:cxnLst>
              <a:rect l="0" t="0" r="r" b="b"/>
              <a:pathLst>
                <a:path w="699" h="206">
                  <a:moveTo>
                    <a:pt x="695" y="206"/>
                  </a:moveTo>
                  <a:lnTo>
                    <a:pt x="699" y="202"/>
                  </a:lnTo>
                  <a:lnTo>
                    <a:pt x="0" y="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1" name="Line 110">
              <a:extLst>
                <a:ext uri="{FF2B5EF4-FFF2-40B4-BE49-F238E27FC236}">
                  <a16:creationId xmlns:a16="http://schemas.microsoft.com/office/drawing/2014/main" id="{0F37EDBA-9C9C-49ED-9BD7-E609FF250FD1}"/>
                </a:ext>
              </a:extLst>
            </p:cNvPr>
            <p:cNvSpPr>
              <a:spLocks noChangeShapeType="1"/>
            </p:cNvSpPr>
            <p:nvPr/>
          </p:nvSpPr>
          <p:spPr bwMode="auto">
            <a:xfrm flipH="1">
              <a:off x="5328811" y="3320192"/>
              <a:ext cx="936774" cy="502007"/>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2" name="Line 113">
              <a:extLst>
                <a:ext uri="{FF2B5EF4-FFF2-40B4-BE49-F238E27FC236}">
                  <a16:creationId xmlns:a16="http://schemas.microsoft.com/office/drawing/2014/main" id="{EDDA962B-2C93-4409-BA6A-990084BFA47A}"/>
                </a:ext>
              </a:extLst>
            </p:cNvPr>
            <p:cNvSpPr>
              <a:spLocks noChangeShapeType="1"/>
            </p:cNvSpPr>
            <p:nvPr/>
          </p:nvSpPr>
          <p:spPr bwMode="auto">
            <a:xfrm flipV="1">
              <a:off x="5751647" y="2422523"/>
              <a:ext cx="1391306" cy="35913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3" name="Line 114">
              <a:extLst>
                <a:ext uri="{FF2B5EF4-FFF2-40B4-BE49-F238E27FC236}">
                  <a16:creationId xmlns:a16="http://schemas.microsoft.com/office/drawing/2014/main" id="{3BFDBBB1-CE02-4D00-B8EF-5E1F7ACBF305}"/>
                </a:ext>
              </a:extLst>
            </p:cNvPr>
            <p:cNvSpPr>
              <a:spLocks noChangeShapeType="1"/>
            </p:cNvSpPr>
            <p:nvPr/>
          </p:nvSpPr>
          <p:spPr bwMode="auto">
            <a:xfrm flipH="1">
              <a:off x="6256445" y="2437496"/>
              <a:ext cx="895644" cy="8826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4" name="Freeform 118">
              <a:extLst>
                <a:ext uri="{FF2B5EF4-FFF2-40B4-BE49-F238E27FC236}">
                  <a16:creationId xmlns:a16="http://schemas.microsoft.com/office/drawing/2014/main" id="{D59E4371-5258-41C8-9B45-F6FC24EBB08A}"/>
                </a:ext>
              </a:extLst>
            </p:cNvPr>
            <p:cNvSpPr>
              <a:spLocks/>
            </p:cNvSpPr>
            <p:nvPr/>
          </p:nvSpPr>
          <p:spPr bwMode="auto">
            <a:xfrm>
              <a:off x="7152092" y="1899930"/>
              <a:ext cx="1928383" cy="1290577"/>
            </a:xfrm>
            <a:custGeom>
              <a:avLst/>
              <a:gdLst>
                <a:gd name="T0" fmla="*/ 844 w 844"/>
                <a:gd name="T1" fmla="*/ 0 h 617"/>
                <a:gd name="T2" fmla="*/ 654 w 844"/>
                <a:gd name="T3" fmla="*/ 617 h 617"/>
                <a:gd name="T4" fmla="*/ 0 w 844"/>
                <a:gd name="T5" fmla="*/ 261 h 617"/>
              </a:gdLst>
              <a:ahLst/>
              <a:cxnLst>
                <a:cxn ang="0">
                  <a:pos x="T0" y="T1"/>
                </a:cxn>
                <a:cxn ang="0">
                  <a:pos x="T2" y="T3"/>
                </a:cxn>
                <a:cxn ang="0">
                  <a:pos x="T4" y="T5"/>
                </a:cxn>
              </a:cxnLst>
              <a:rect l="0" t="0" r="r" b="b"/>
              <a:pathLst>
                <a:path w="844" h="617">
                  <a:moveTo>
                    <a:pt x="844" y="0"/>
                  </a:moveTo>
                  <a:lnTo>
                    <a:pt x="654" y="617"/>
                  </a:lnTo>
                  <a:lnTo>
                    <a:pt x="0" y="261"/>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5" name="Line 150">
              <a:extLst>
                <a:ext uri="{FF2B5EF4-FFF2-40B4-BE49-F238E27FC236}">
                  <a16:creationId xmlns:a16="http://schemas.microsoft.com/office/drawing/2014/main" id="{B60923C6-12EA-4543-A622-D59627E4D31F}"/>
                </a:ext>
              </a:extLst>
            </p:cNvPr>
            <p:cNvSpPr>
              <a:spLocks noChangeShapeType="1"/>
            </p:cNvSpPr>
            <p:nvPr/>
          </p:nvSpPr>
          <p:spPr bwMode="auto">
            <a:xfrm flipH="1">
              <a:off x="5093474" y="3811740"/>
              <a:ext cx="226197" cy="813669"/>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6" name="Freeform 151">
              <a:extLst>
                <a:ext uri="{FF2B5EF4-FFF2-40B4-BE49-F238E27FC236}">
                  <a16:creationId xmlns:a16="http://schemas.microsoft.com/office/drawing/2014/main" id="{298E3033-F4C1-4291-8126-25295296812E}"/>
                </a:ext>
              </a:extLst>
            </p:cNvPr>
            <p:cNvSpPr>
              <a:spLocks/>
            </p:cNvSpPr>
            <p:nvPr/>
          </p:nvSpPr>
          <p:spPr bwMode="auto">
            <a:xfrm>
              <a:off x="5319671" y="3309733"/>
              <a:ext cx="1416585" cy="650518"/>
            </a:xfrm>
            <a:custGeom>
              <a:avLst/>
              <a:gdLst>
                <a:gd name="T0" fmla="*/ 410 w 620"/>
                <a:gd name="T1" fmla="*/ 0 h 311"/>
                <a:gd name="T2" fmla="*/ 620 w 620"/>
                <a:gd name="T3" fmla="*/ 311 h 311"/>
                <a:gd name="T4" fmla="*/ 0 w 620"/>
                <a:gd name="T5" fmla="*/ 240 h 311"/>
              </a:gdLst>
              <a:ahLst/>
              <a:cxnLst>
                <a:cxn ang="0">
                  <a:pos x="T0" y="T1"/>
                </a:cxn>
                <a:cxn ang="0">
                  <a:pos x="T2" y="T3"/>
                </a:cxn>
                <a:cxn ang="0">
                  <a:pos x="T4" y="T5"/>
                </a:cxn>
              </a:cxnLst>
              <a:rect l="0" t="0" r="r" b="b"/>
              <a:pathLst>
                <a:path w="620" h="311">
                  <a:moveTo>
                    <a:pt x="410" y="0"/>
                  </a:moveTo>
                  <a:lnTo>
                    <a:pt x="620" y="311"/>
                  </a:lnTo>
                  <a:lnTo>
                    <a:pt x="0" y="240"/>
                  </a:lnTo>
                </a:path>
              </a:pathLst>
            </a:custGeom>
            <a:noFill/>
            <a:ln w="6350" cap="flat">
              <a:solidFill>
                <a:schemeClr val="accent2">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7" name="Line 165">
              <a:extLst>
                <a:ext uri="{FF2B5EF4-FFF2-40B4-BE49-F238E27FC236}">
                  <a16:creationId xmlns:a16="http://schemas.microsoft.com/office/drawing/2014/main" id="{0E185A30-1CDC-44A6-865A-B3F88F34BEEC}"/>
                </a:ext>
              </a:extLst>
            </p:cNvPr>
            <p:cNvSpPr>
              <a:spLocks noChangeShapeType="1"/>
            </p:cNvSpPr>
            <p:nvPr/>
          </p:nvSpPr>
          <p:spPr bwMode="auto">
            <a:xfrm>
              <a:off x="5319671" y="3811740"/>
              <a:ext cx="769159" cy="79775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8" name="Line 166">
              <a:extLst>
                <a:ext uri="{FF2B5EF4-FFF2-40B4-BE49-F238E27FC236}">
                  <a16:creationId xmlns:a16="http://schemas.microsoft.com/office/drawing/2014/main" id="{1B57D47E-F0BC-411C-9075-0BD16CC02074}"/>
                </a:ext>
              </a:extLst>
            </p:cNvPr>
            <p:cNvSpPr>
              <a:spLocks noChangeShapeType="1"/>
            </p:cNvSpPr>
            <p:nvPr/>
          </p:nvSpPr>
          <p:spPr bwMode="auto">
            <a:xfrm flipV="1">
              <a:off x="4432247" y="3811739"/>
              <a:ext cx="896563" cy="5228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9" name="Line 169">
              <a:extLst>
                <a:ext uri="{FF2B5EF4-FFF2-40B4-BE49-F238E27FC236}">
                  <a16:creationId xmlns:a16="http://schemas.microsoft.com/office/drawing/2014/main" id="{9F7E8BE7-14B1-4A94-875E-F6CE9F255F91}"/>
                </a:ext>
              </a:extLst>
            </p:cNvPr>
            <p:cNvSpPr>
              <a:spLocks noChangeShapeType="1"/>
            </p:cNvSpPr>
            <p:nvPr/>
          </p:nvSpPr>
          <p:spPr bwMode="auto">
            <a:xfrm flipH="1" flipV="1">
              <a:off x="4674978" y="3041644"/>
              <a:ext cx="644693" cy="76173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0" name="Line 170">
              <a:extLst>
                <a:ext uri="{FF2B5EF4-FFF2-40B4-BE49-F238E27FC236}">
                  <a16:creationId xmlns:a16="http://schemas.microsoft.com/office/drawing/2014/main" id="{A8E08745-C724-4941-BF53-E91F80105B2E}"/>
                </a:ext>
              </a:extLst>
            </p:cNvPr>
            <p:cNvSpPr>
              <a:spLocks noChangeShapeType="1"/>
            </p:cNvSpPr>
            <p:nvPr/>
          </p:nvSpPr>
          <p:spPr bwMode="auto">
            <a:xfrm flipV="1">
              <a:off x="4411683" y="3811740"/>
              <a:ext cx="907988" cy="83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1" name="Line 182">
              <a:extLst>
                <a:ext uri="{FF2B5EF4-FFF2-40B4-BE49-F238E27FC236}">
                  <a16:creationId xmlns:a16="http://schemas.microsoft.com/office/drawing/2014/main" id="{8177E92D-F8AD-4DAF-A82A-90651C6E2187}"/>
                </a:ext>
              </a:extLst>
            </p:cNvPr>
            <p:cNvSpPr>
              <a:spLocks noChangeShapeType="1"/>
            </p:cNvSpPr>
            <p:nvPr/>
          </p:nvSpPr>
          <p:spPr bwMode="auto">
            <a:xfrm>
              <a:off x="6256445" y="3320192"/>
              <a:ext cx="1190388" cy="7739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2" name="Line 184">
              <a:extLst>
                <a:ext uri="{FF2B5EF4-FFF2-40B4-BE49-F238E27FC236}">
                  <a16:creationId xmlns:a16="http://schemas.microsoft.com/office/drawing/2014/main" id="{CB6FF347-1B48-4F53-B0BA-2162C9342C00}"/>
                </a:ext>
              </a:extLst>
            </p:cNvPr>
            <p:cNvSpPr>
              <a:spLocks noChangeShapeType="1"/>
            </p:cNvSpPr>
            <p:nvPr/>
          </p:nvSpPr>
          <p:spPr bwMode="auto">
            <a:xfrm flipV="1">
              <a:off x="7142952" y="1416748"/>
              <a:ext cx="331298" cy="99130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3" name="Line 107">
              <a:extLst>
                <a:ext uri="{FF2B5EF4-FFF2-40B4-BE49-F238E27FC236}">
                  <a16:creationId xmlns:a16="http://schemas.microsoft.com/office/drawing/2014/main" id="{D34F5797-8074-4296-8CAB-F4B2B39BCDBC}"/>
                </a:ext>
              </a:extLst>
            </p:cNvPr>
            <p:cNvSpPr>
              <a:spLocks noChangeShapeType="1"/>
            </p:cNvSpPr>
            <p:nvPr/>
          </p:nvSpPr>
          <p:spPr bwMode="auto">
            <a:xfrm>
              <a:off x="6598928" y="2179715"/>
              <a:ext cx="544022" cy="221788"/>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4" name="Line 187">
              <a:extLst>
                <a:ext uri="{FF2B5EF4-FFF2-40B4-BE49-F238E27FC236}">
                  <a16:creationId xmlns:a16="http://schemas.microsoft.com/office/drawing/2014/main" id="{205439DA-68B5-4DCB-833F-33767CEA17BE}"/>
                </a:ext>
              </a:extLst>
            </p:cNvPr>
            <p:cNvSpPr>
              <a:spLocks noChangeShapeType="1"/>
            </p:cNvSpPr>
            <p:nvPr/>
          </p:nvSpPr>
          <p:spPr bwMode="auto">
            <a:xfrm flipV="1">
              <a:off x="9562573" y="2132110"/>
              <a:ext cx="397555" cy="53756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5" name="Line 188">
              <a:extLst>
                <a:ext uri="{FF2B5EF4-FFF2-40B4-BE49-F238E27FC236}">
                  <a16:creationId xmlns:a16="http://schemas.microsoft.com/office/drawing/2014/main" id="{7D736DC1-13AE-4EF7-B1B7-CC0051B88709}"/>
                </a:ext>
              </a:extLst>
            </p:cNvPr>
            <p:cNvSpPr>
              <a:spLocks noChangeShapeType="1"/>
            </p:cNvSpPr>
            <p:nvPr/>
          </p:nvSpPr>
          <p:spPr bwMode="auto">
            <a:xfrm>
              <a:off x="9580851" y="2661309"/>
              <a:ext cx="696810" cy="34956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6" name="Line 188">
              <a:extLst>
                <a:ext uri="{FF2B5EF4-FFF2-40B4-BE49-F238E27FC236}">
                  <a16:creationId xmlns:a16="http://schemas.microsoft.com/office/drawing/2014/main" id="{1BAAE83A-8514-4C1B-9296-157926E6A68F}"/>
                </a:ext>
              </a:extLst>
            </p:cNvPr>
            <p:cNvSpPr>
              <a:spLocks noChangeShapeType="1"/>
            </p:cNvSpPr>
            <p:nvPr/>
          </p:nvSpPr>
          <p:spPr bwMode="auto">
            <a:xfrm flipV="1">
              <a:off x="10487917" y="3215133"/>
              <a:ext cx="477034" cy="84761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7" name="Line 142">
              <a:extLst>
                <a:ext uri="{FF2B5EF4-FFF2-40B4-BE49-F238E27FC236}">
                  <a16:creationId xmlns:a16="http://schemas.microsoft.com/office/drawing/2014/main" id="{3D20E8AA-6A60-40EC-ACDE-1F15019CD4AB}"/>
                </a:ext>
              </a:extLst>
            </p:cNvPr>
            <p:cNvSpPr>
              <a:spLocks noChangeShapeType="1"/>
            </p:cNvSpPr>
            <p:nvPr/>
          </p:nvSpPr>
          <p:spPr bwMode="auto">
            <a:xfrm flipH="1">
              <a:off x="8357331" y="5020437"/>
              <a:ext cx="967619" cy="252203"/>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8" name="Line 142">
              <a:extLst>
                <a:ext uri="{FF2B5EF4-FFF2-40B4-BE49-F238E27FC236}">
                  <a16:creationId xmlns:a16="http://schemas.microsoft.com/office/drawing/2014/main" id="{6E740B63-A313-493C-8A4E-802B266F0C61}"/>
                </a:ext>
              </a:extLst>
            </p:cNvPr>
            <p:cNvSpPr>
              <a:spLocks noChangeShapeType="1"/>
            </p:cNvSpPr>
            <p:nvPr/>
          </p:nvSpPr>
          <p:spPr bwMode="auto">
            <a:xfrm flipH="1">
              <a:off x="9366581" y="4564751"/>
              <a:ext cx="686059" cy="380096"/>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9" name="Line 142">
              <a:extLst>
                <a:ext uri="{FF2B5EF4-FFF2-40B4-BE49-F238E27FC236}">
                  <a16:creationId xmlns:a16="http://schemas.microsoft.com/office/drawing/2014/main" id="{F67406F0-1BFE-4D9E-B197-AA0FBC55B8A2}"/>
                </a:ext>
              </a:extLst>
            </p:cNvPr>
            <p:cNvSpPr>
              <a:spLocks noChangeShapeType="1"/>
            </p:cNvSpPr>
            <p:nvPr/>
          </p:nvSpPr>
          <p:spPr bwMode="auto">
            <a:xfrm flipH="1">
              <a:off x="8727825" y="4983289"/>
              <a:ext cx="597123" cy="783781"/>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0" name="Line 142">
              <a:extLst>
                <a:ext uri="{FF2B5EF4-FFF2-40B4-BE49-F238E27FC236}">
                  <a16:creationId xmlns:a16="http://schemas.microsoft.com/office/drawing/2014/main" id="{9E15AD87-074C-432E-A74E-8C8427585800}"/>
                </a:ext>
              </a:extLst>
            </p:cNvPr>
            <p:cNvSpPr>
              <a:spLocks noChangeShapeType="1"/>
            </p:cNvSpPr>
            <p:nvPr/>
          </p:nvSpPr>
          <p:spPr bwMode="auto">
            <a:xfrm>
              <a:off x="9315811" y="4994576"/>
              <a:ext cx="536424" cy="772494"/>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1" name="Line 106">
              <a:extLst>
                <a:ext uri="{FF2B5EF4-FFF2-40B4-BE49-F238E27FC236}">
                  <a16:creationId xmlns:a16="http://schemas.microsoft.com/office/drawing/2014/main" id="{8FB87292-23EF-4F8A-92F9-1E8CC33513CE}"/>
                </a:ext>
              </a:extLst>
            </p:cNvPr>
            <p:cNvSpPr>
              <a:spLocks noChangeShapeType="1"/>
            </p:cNvSpPr>
            <p:nvPr/>
          </p:nvSpPr>
          <p:spPr bwMode="auto">
            <a:xfrm flipV="1">
              <a:off x="9080476" y="1596064"/>
              <a:ext cx="340493" cy="310640"/>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82" name="Line 121">
              <a:extLst>
                <a:ext uri="{FF2B5EF4-FFF2-40B4-BE49-F238E27FC236}">
                  <a16:creationId xmlns:a16="http://schemas.microsoft.com/office/drawing/2014/main" id="{CAA3F072-E580-47CB-B591-71E16D4FB9AD}"/>
                </a:ext>
              </a:extLst>
            </p:cNvPr>
            <p:cNvSpPr>
              <a:spLocks noChangeShapeType="1"/>
            </p:cNvSpPr>
            <p:nvPr/>
          </p:nvSpPr>
          <p:spPr bwMode="auto">
            <a:xfrm flipH="1">
              <a:off x="9603755" y="3026661"/>
              <a:ext cx="695599" cy="423195"/>
            </a:xfrm>
            <a:prstGeom prst="line">
              <a:avLst/>
            </a:prstGeom>
            <a:noFill/>
            <a:ln w="6350" cap="flat">
              <a:solidFill>
                <a:schemeClr val="accent2">
                  <a:alpha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283" name="icons">
            <a:extLst>
              <a:ext uri="{FF2B5EF4-FFF2-40B4-BE49-F238E27FC236}">
                <a16:creationId xmlns:a16="http://schemas.microsoft.com/office/drawing/2014/main" id="{6475A8D0-E7F4-48B0-B205-BC5807160CB8}"/>
              </a:ext>
              <a:ext uri="{C183D7F6-B498-43B3-948B-1728B52AA6E4}">
                <adec:decorative xmlns:adec="http://schemas.microsoft.com/office/drawing/2017/decorative" xmlns="" val="1"/>
              </a:ext>
            </a:extLst>
          </p:cNvPr>
          <p:cNvGrpSpPr/>
          <p:nvPr/>
        </p:nvGrpSpPr>
        <p:grpSpPr>
          <a:xfrm>
            <a:off x="4870381" y="2017713"/>
            <a:ext cx="5835262" cy="3856212"/>
            <a:chOff x="4898517" y="1675576"/>
            <a:chExt cx="5835262" cy="3856212"/>
          </a:xfrm>
        </p:grpSpPr>
        <p:grpSp>
          <p:nvGrpSpPr>
            <p:cNvPr id="284" name="icon">
              <a:extLst>
                <a:ext uri="{FF2B5EF4-FFF2-40B4-BE49-F238E27FC236}">
                  <a16:creationId xmlns:a16="http://schemas.microsoft.com/office/drawing/2014/main" id="{68C223FB-62EC-4D46-84CE-273D94FD2CF4}"/>
                </a:ext>
                <a:ext uri="{C183D7F6-B498-43B3-948B-1728B52AA6E4}">
                  <adec:decorative xmlns:adec="http://schemas.microsoft.com/office/drawing/2017/decorative" xmlns="" val="1"/>
                </a:ext>
              </a:extLst>
            </p:cNvPr>
            <p:cNvGrpSpPr/>
            <p:nvPr/>
          </p:nvGrpSpPr>
          <p:grpSpPr>
            <a:xfrm>
              <a:off x="8230523" y="3595129"/>
              <a:ext cx="476938" cy="476938"/>
              <a:chOff x="3742756" y="3997480"/>
              <a:chExt cx="640079" cy="640079"/>
            </a:xfrm>
          </p:grpSpPr>
          <p:sp>
            <p:nvSpPr>
              <p:cNvPr id="317" name="Oval 316">
                <a:extLst>
                  <a:ext uri="{FF2B5EF4-FFF2-40B4-BE49-F238E27FC236}">
                    <a16:creationId xmlns:a16="http://schemas.microsoft.com/office/drawing/2014/main" id="{00D89776-7B17-473E-9A21-93E54ABF2FC2}"/>
                  </a:ext>
                </a:extLst>
              </p:cNvPr>
              <p:cNvSpPr/>
              <p:nvPr/>
            </p:nvSpPr>
            <p:spPr bwMode="auto">
              <a:xfrm>
                <a:off x="3742756" y="3997480"/>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8" name="Freeform 5">
                <a:extLst>
                  <a:ext uri="{FF2B5EF4-FFF2-40B4-BE49-F238E27FC236}">
                    <a16:creationId xmlns:a16="http://schemas.microsoft.com/office/drawing/2014/main" id="{1ACC1C8E-EDFD-48E6-B84F-4F9A82450CA4}"/>
                  </a:ext>
                </a:extLst>
              </p:cNvPr>
              <p:cNvSpPr>
                <a:spLocks noEditPoints="1"/>
              </p:cNvSpPr>
              <p:nvPr/>
            </p:nvSpPr>
            <p:spPr bwMode="auto">
              <a:xfrm>
                <a:off x="3933835" y="4173431"/>
                <a:ext cx="257930" cy="2881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85" name="icon">
              <a:extLst>
                <a:ext uri="{FF2B5EF4-FFF2-40B4-BE49-F238E27FC236}">
                  <a16:creationId xmlns:a16="http://schemas.microsoft.com/office/drawing/2014/main" id="{8B524217-DE79-46FB-9B30-3C2B250EDD00}"/>
                </a:ext>
                <a:ext uri="{C183D7F6-B498-43B3-948B-1728B52AA6E4}">
                  <adec:decorative xmlns:adec="http://schemas.microsoft.com/office/drawing/2017/decorative" xmlns="" val="1"/>
                </a:ext>
              </a:extLst>
            </p:cNvPr>
            <p:cNvGrpSpPr/>
            <p:nvPr/>
          </p:nvGrpSpPr>
          <p:grpSpPr>
            <a:xfrm>
              <a:off x="10256841" y="3813830"/>
              <a:ext cx="476938" cy="476938"/>
              <a:chOff x="10546208" y="3813830"/>
              <a:chExt cx="476938" cy="476938"/>
            </a:xfrm>
          </p:grpSpPr>
          <p:sp>
            <p:nvSpPr>
              <p:cNvPr id="311" name="Oval 310">
                <a:extLst>
                  <a:ext uri="{FF2B5EF4-FFF2-40B4-BE49-F238E27FC236}">
                    <a16:creationId xmlns:a16="http://schemas.microsoft.com/office/drawing/2014/main" id="{7AF4FC1C-944D-4CFB-AD1A-08F7A4E802D5}"/>
                  </a:ext>
                </a:extLst>
              </p:cNvPr>
              <p:cNvSpPr/>
              <p:nvPr/>
            </p:nvSpPr>
            <p:spPr bwMode="auto">
              <a:xfrm>
                <a:off x="10546208" y="3813830"/>
                <a:ext cx="476938" cy="476938"/>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12" name="Group 4">
                <a:extLst>
                  <a:ext uri="{FF2B5EF4-FFF2-40B4-BE49-F238E27FC236}">
                    <a16:creationId xmlns:a16="http://schemas.microsoft.com/office/drawing/2014/main" id="{EABCAAA4-89ED-4281-B9BD-E316AC37B989}"/>
                  </a:ext>
                </a:extLst>
              </p:cNvPr>
              <p:cNvGrpSpPr>
                <a:grpSpLocks noChangeAspect="1"/>
              </p:cNvGrpSpPr>
              <p:nvPr/>
            </p:nvGrpSpPr>
            <p:grpSpPr bwMode="auto">
              <a:xfrm>
                <a:off x="10684278" y="3953533"/>
                <a:ext cx="200802" cy="197523"/>
                <a:chOff x="3794" y="2083"/>
                <a:chExt cx="245" cy="241"/>
              </a:xfrm>
            </p:grpSpPr>
            <p:sp>
              <p:nvSpPr>
                <p:cNvPr id="313" name="Rectangle 312">
                  <a:extLst>
                    <a:ext uri="{FF2B5EF4-FFF2-40B4-BE49-F238E27FC236}">
                      <a16:creationId xmlns:a16="http://schemas.microsoft.com/office/drawing/2014/main" id="{41A46AD7-27D9-4BF0-A1C4-F97E439EE8C6}"/>
                    </a:ext>
                  </a:extLst>
                </p:cNvPr>
                <p:cNvSpPr>
                  <a:spLocks noChangeArrowheads="1"/>
                </p:cNvSpPr>
                <p:nvPr/>
              </p:nvSpPr>
              <p:spPr bwMode="auto">
                <a:xfrm>
                  <a:off x="3794" y="2083"/>
                  <a:ext cx="245" cy="138"/>
                </a:xfrm>
                <a:prstGeom prst="rect">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4" name="Freeform 6">
                  <a:extLst>
                    <a:ext uri="{FF2B5EF4-FFF2-40B4-BE49-F238E27FC236}">
                      <a16:creationId xmlns:a16="http://schemas.microsoft.com/office/drawing/2014/main" id="{08A97FBD-0C66-492B-85A3-68F19475787A}"/>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5" name="Line 7">
                  <a:extLst>
                    <a:ext uri="{FF2B5EF4-FFF2-40B4-BE49-F238E27FC236}">
                      <a16:creationId xmlns:a16="http://schemas.microsoft.com/office/drawing/2014/main" id="{18209E0C-204C-4E19-93D5-11EC9F2350F8}"/>
                    </a:ext>
                  </a:extLst>
                </p:cNvPr>
                <p:cNvSpPr>
                  <a:spLocks noChangeShapeType="1"/>
                </p:cNvSpPr>
                <p:nvPr/>
              </p:nvSpPr>
              <p:spPr bwMode="auto">
                <a:xfrm>
                  <a:off x="3917" y="2221"/>
                  <a:ext cx="0" cy="36"/>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6" name="Line 8">
                  <a:extLst>
                    <a:ext uri="{FF2B5EF4-FFF2-40B4-BE49-F238E27FC236}">
                      <a16:creationId xmlns:a16="http://schemas.microsoft.com/office/drawing/2014/main" id="{5742051A-EA52-4D5C-8497-B58307B31658}"/>
                    </a:ext>
                  </a:extLst>
                </p:cNvPr>
                <p:cNvSpPr>
                  <a:spLocks noChangeShapeType="1"/>
                </p:cNvSpPr>
                <p:nvPr/>
              </p:nvSpPr>
              <p:spPr bwMode="auto">
                <a:xfrm>
                  <a:off x="3873" y="2255"/>
                  <a:ext cx="86" cy="0"/>
                </a:xfrm>
                <a:prstGeom prst="line">
                  <a:avLst/>
                </a:prstGeom>
                <a:noFill/>
                <a:ln w="15875"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86" name="icon">
              <a:extLst>
                <a:ext uri="{FF2B5EF4-FFF2-40B4-BE49-F238E27FC236}">
                  <a16:creationId xmlns:a16="http://schemas.microsoft.com/office/drawing/2014/main" id="{8C52AD33-1459-47A6-A4EE-EE0667E28DF3}"/>
                </a:ext>
                <a:ext uri="{C183D7F6-B498-43B3-948B-1728B52AA6E4}">
                  <adec:decorative xmlns:adec="http://schemas.microsoft.com/office/drawing/2017/decorative" xmlns="" val="1"/>
                </a:ext>
              </a:extLst>
            </p:cNvPr>
            <p:cNvGrpSpPr/>
            <p:nvPr/>
          </p:nvGrpSpPr>
          <p:grpSpPr>
            <a:xfrm>
              <a:off x="7018721" y="5054850"/>
              <a:ext cx="476938" cy="476938"/>
              <a:chOff x="2442289" y="5625339"/>
              <a:chExt cx="640079" cy="640079"/>
            </a:xfrm>
          </p:grpSpPr>
          <p:sp>
            <p:nvSpPr>
              <p:cNvPr id="309" name="Oval 308">
                <a:extLst>
                  <a:ext uri="{FF2B5EF4-FFF2-40B4-BE49-F238E27FC236}">
                    <a16:creationId xmlns:a16="http://schemas.microsoft.com/office/drawing/2014/main" id="{2AF60EDA-C1D3-4317-B56C-D3537029694A}"/>
                  </a:ext>
                </a:extLst>
              </p:cNvPr>
              <p:cNvSpPr/>
              <p:nvPr/>
            </p:nvSpPr>
            <p:spPr bwMode="auto">
              <a:xfrm>
                <a:off x="2442289" y="5625339"/>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10" name="Freeform 25">
                <a:extLst>
                  <a:ext uri="{FF2B5EF4-FFF2-40B4-BE49-F238E27FC236}">
                    <a16:creationId xmlns:a16="http://schemas.microsoft.com/office/drawing/2014/main" id="{67F226E0-17B2-4DE3-9E18-95F8B0539344}"/>
                  </a:ext>
                </a:extLst>
              </p:cNvPr>
              <p:cNvSpPr>
                <a:spLocks noEditPoints="1"/>
              </p:cNvSpPr>
              <p:nvPr/>
            </p:nvSpPr>
            <p:spPr bwMode="auto">
              <a:xfrm>
                <a:off x="2599400" y="5786194"/>
                <a:ext cx="325862" cy="31838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7" name="icon">
              <a:extLst>
                <a:ext uri="{FF2B5EF4-FFF2-40B4-BE49-F238E27FC236}">
                  <a16:creationId xmlns:a16="http://schemas.microsoft.com/office/drawing/2014/main" id="{2812B6FA-A86A-406B-9520-32ACEBF9B182}"/>
                </a:ext>
                <a:ext uri="{C183D7F6-B498-43B3-948B-1728B52AA6E4}">
                  <adec:decorative xmlns:adec="http://schemas.microsoft.com/office/drawing/2017/decorative" xmlns="" val="1"/>
                </a:ext>
              </a:extLst>
            </p:cNvPr>
            <p:cNvGrpSpPr/>
            <p:nvPr/>
          </p:nvGrpSpPr>
          <p:grpSpPr>
            <a:xfrm>
              <a:off x="6931047" y="2195320"/>
              <a:ext cx="478839" cy="478839"/>
              <a:chOff x="5451288" y="2062754"/>
              <a:chExt cx="640081" cy="640079"/>
            </a:xfrm>
          </p:grpSpPr>
          <p:sp>
            <p:nvSpPr>
              <p:cNvPr id="307" name="Oval 306">
                <a:extLst>
                  <a:ext uri="{FF2B5EF4-FFF2-40B4-BE49-F238E27FC236}">
                    <a16:creationId xmlns:a16="http://schemas.microsoft.com/office/drawing/2014/main" id="{5823913D-F049-4EBF-A34D-18E2762769AC}"/>
                  </a:ext>
                </a:extLst>
              </p:cNvPr>
              <p:cNvSpPr/>
              <p:nvPr/>
            </p:nvSpPr>
            <p:spPr bwMode="auto">
              <a:xfrm>
                <a:off x="5451288" y="2062754"/>
                <a:ext cx="640081"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8" name="ShoppingCart_E7BF">
                <a:extLst>
                  <a:ext uri="{FF2B5EF4-FFF2-40B4-BE49-F238E27FC236}">
                    <a16:creationId xmlns:a16="http://schemas.microsoft.com/office/drawing/2014/main" id="{260F0920-A205-470B-AD0B-827BDF542BAC}"/>
                  </a:ext>
                </a:extLst>
              </p:cNvPr>
              <p:cNvSpPr>
                <a:spLocks noChangeAspect="1" noEditPoints="1"/>
              </p:cNvSpPr>
              <p:nvPr/>
            </p:nvSpPr>
            <p:spPr bwMode="auto">
              <a:xfrm>
                <a:off x="5611505" y="2246896"/>
                <a:ext cx="319636" cy="27180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8" name="icon">
              <a:extLst>
                <a:ext uri="{FF2B5EF4-FFF2-40B4-BE49-F238E27FC236}">
                  <a16:creationId xmlns:a16="http://schemas.microsoft.com/office/drawing/2014/main" id="{47F52B7C-3E1A-4C9A-AE48-8FE41E1CBAFA}"/>
                </a:ext>
                <a:ext uri="{C183D7F6-B498-43B3-948B-1728B52AA6E4}">
                  <adec:decorative xmlns:adec="http://schemas.microsoft.com/office/drawing/2017/decorative" xmlns="" val="1"/>
                </a:ext>
              </a:extLst>
            </p:cNvPr>
            <p:cNvGrpSpPr/>
            <p:nvPr/>
          </p:nvGrpSpPr>
          <p:grpSpPr>
            <a:xfrm>
              <a:off x="4898517" y="4389909"/>
              <a:ext cx="469497" cy="469497"/>
              <a:chOff x="1711096" y="3039667"/>
              <a:chExt cx="640080" cy="640080"/>
            </a:xfrm>
          </p:grpSpPr>
          <p:sp>
            <p:nvSpPr>
              <p:cNvPr id="305" name="Oval 304">
                <a:extLst>
                  <a:ext uri="{FF2B5EF4-FFF2-40B4-BE49-F238E27FC236}">
                    <a16:creationId xmlns:a16="http://schemas.microsoft.com/office/drawing/2014/main" id="{089A4A4B-1837-4EF9-B14F-6B4C077E3B1B}"/>
                  </a:ext>
                </a:extLst>
              </p:cNvPr>
              <p:cNvSpPr/>
              <p:nvPr/>
            </p:nvSpPr>
            <p:spPr bwMode="auto">
              <a:xfrm>
                <a:off x="1711096" y="3039667"/>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6" name="Freeform 13">
                <a:extLst>
                  <a:ext uri="{FF2B5EF4-FFF2-40B4-BE49-F238E27FC236}">
                    <a16:creationId xmlns:a16="http://schemas.microsoft.com/office/drawing/2014/main" id="{1154E847-D7F8-4A1B-998C-43D2B5858902}"/>
                  </a:ext>
                </a:extLst>
              </p:cNvPr>
              <p:cNvSpPr>
                <a:spLocks noEditPoints="1"/>
              </p:cNvSpPr>
              <p:nvPr/>
            </p:nvSpPr>
            <p:spPr bwMode="auto">
              <a:xfrm>
                <a:off x="1878869" y="3208838"/>
                <a:ext cx="312379" cy="29006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89" name="icon">
              <a:extLst>
                <a:ext uri="{FF2B5EF4-FFF2-40B4-BE49-F238E27FC236}">
                  <a16:creationId xmlns:a16="http://schemas.microsoft.com/office/drawing/2014/main" id="{36B328B1-1DF0-43D9-8BD5-1B1A63C5992D}"/>
                </a:ext>
                <a:ext uri="{C183D7F6-B498-43B3-948B-1728B52AA6E4}">
                  <adec:decorative xmlns:adec="http://schemas.microsoft.com/office/drawing/2017/decorative" xmlns="" val="1"/>
                </a:ext>
              </a:extLst>
            </p:cNvPr>
            <p:cNvGrpSpPr/>
            <p:nvPr/>
          </p:nvGrpSpPr>
          <p:grpSpPr>
            <a:xfrm>
              <a:off x="5462312" y="2540410"/>
              <a:ext cx="461041" cy="461041"/>
              <a:chOff x="3019691" y="4120975"/>
              <a:chExt cx="640079" cy="640079"/>
            </a:xfrm>
          </p:grpSpPr>
          <p:sp>
            <p:nvSpPr>
              <p:cNvPr id="303" name="Oval 302">
                <a:extLst>
                  <a:ext uri="{FF2B5EF4-FFF2-40B4-BE49-F238E27FC236}">
                    <a16:creationId xmlns:a16="http://schemas.microsoft.com/office/drawing/2014/main" id="{E1661D0F-84E4-417D-AFAF-E670A4D3983F}"/>
                  </a:ext>
                </a:extLst>
              </p:cNvPr>
              <p:cNvSpPr/>
              <p:nvPr/>
            </p:nvSpPr>
            <p:spPr bwMode="auto">
              <a:xfrm>
                <a:off x="3019691" y="4120975"/>
                <a:ext cx="640079" cy="64007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4" name="Freeform 5">
                <a:extLst>
                  <a:ext uri="{FF2B5EF4-FFF2-40B4-BE49-F238E27FC236}">
                    <a16:creationId xmlns:a16="http://schemas.microsoft.com/office/drawing/2014/main" id="{FA39B1D1-1740-44DD-941F-8369796DFF85}"/>
                  </a:ext>
                </a:extLst>
              </p:cNvPr>
              <p:cNvSpPr>
                <a:spLocks noEditPoints="1"/>
              </p:cNvSpPr>
              <p:nvPr/>
            </p:nvSpPr>
            <p:spPr bwMode="auto">
              <a:xfrm>
                <a:off x="3185649" y="4348319"/>
                <a:ext cx="308171" cy="18540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90" name="icon">
              <a:extLst>
                <a:ext uri="{FF2B5EF4-FFF2-40B4-BE49-F238E27FC236}">
                  <a16:creationId xmlns:a16="http://schemas.microsoft.com/office/drawing/2014/main" id="{1DE0A625-3352-43B3-B006-F9F8B0171826}"/>
                </a:ext>
                <a:ext uri="{C183D7F6-B498-43B3-948B-1728B52AA6E4}">
                  <adec:decorative xmlns:adec="http://schemas.microsoft.com/office/drawing/2017/decorative" xmlns="" val="1"/>
                </a:ext>
              </a:extLst>
            </p:cNvPr>
            <p:cNvGrpSpPr/>
            <p:nvPr/>
          </p:nvGrpSpPr>
          <p:grpSpPr>
            <a:xfrm>
              <a:off x="8825960" y="1675576"/>
              <a:ext cx="469715" cy="469715"/>
              <a:chOff x="11307480" y="3082553"/>
              <a:chExt cx="640080" cy="640080"/>
            </a:xfrm>
          </p:grpSpPr>
          <p:sp>
            <p:nvSpPr>
              <p:cNvPr id="301" name="Oval 300">
                <a:extLst>
                  <a:ext uri="{FF2B5EF4-FFF2-40B4-BE49-F238E27FC236}">
                    <a16:creationId xmlns:a16="http://schemas.microsoft.com/office/drawing/2014/main" id="{48D0C2D0-6723-48AF-94FA-4EB38F5E9095}"/>
                  </a:ext>
                </a:extLst>
              </p:cNvPr>
              <p:cNvSpPr/>
              <p:nvPr/>
            </p:nvSpPr>
            <p:spPr bwMode="auto">
              <a:xfrm>
                <a:off x="11307480" y="3082553"/>
                <a:ext cx="640080" cy="640080"/>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2" name="Commitments_EC4D" title="Icon of a handshake">
                <a:extLst>
                  <a:ext uri="{FF2B5EF4-FFF2-40B4-BE49-F238E27FC236}">
                    <a16:creationId xmlns:a16="http://schemas.microsoft.com/office/drawing/2014/main" id="{1735DB35-7CC9-4DA6-99C2-1246E8FBEC43}"/>
                  </a:ext>
                </a:extLst>
              </p:cNvPr>
              <p:cNvSpPr>
                <a:spLocks noChangeAspect="1" noEditPoints="1"/>
              </p:cNvSpPr>
              <p:nvPr/>
            </p:nvSpPr>
            <p:spPr bwMode="auto">
              <a:xfrm>
                <a:off x="11466762" y="3251859"/>
                <a:ext cx="321525" cy="30146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mn-ea"/>
                  <a:cs typeface="+mn-cs"/>
                </a:endParaRPr>
              </a:p>
            </p:txBody>
          </p:sp>
        </p:grpSp>
        <p:grpSp>
          <p:nvGrpSpPr>
            <p:cNvPr id="291" name="icon">
              <a:extLst>
                <a:ext uri="{FF2B5EF4-FFF2-40B4-BE49-F238E27FC236}">
                  <a16:creationId xmlns:a16="http://schemas.microsoft.com/office/drawing/2014/main" id="{9C890B55-7C43-4CF2-AA32-96D9EBD3BD5F}"/>
                </a:ext>
                <a:ext uri="{C183D7F6-B498-43B3-948B-1728B52AA6E4}">
                  <adec:decorative xmlns:adec="http://schemas.microsoft.com/office/drawing/2017/decorative" xmlns="" val="1"/>
                </a:ext>
              </a:extLst>
            </p:cNvPr>
            <p:cNvGrpSpPr/>
            <p:nvPr/>
          </p:nvGrpSpPr>
          <p:grpSpPr>
            <a:xfrm>
              <a:off x="9052438" y="4725398"/>
              <a:ext cx="481045" cy="481045"/>
              <a:chOff x="7400259" y="5674971"/>
              <a:chExt cx="640078" cy="640081"/>
            </a:xfrm>
          </p:grpSpPr>
          <p:sp>
            <p:nvSpPr>
              <p:cNvPr id="297" name="Oval 296">
                <a:extLst>
                  <a:ext uri="{FF2B5EF4-FFF2-40B4-BE49-F238E27FC236}">
                    <a16:creationId xmlns:a16="http://schemas.microsoft.com/office/drawing/2014/main" id="{A6802FF2-6BF8-4147-B2F7-8E1138F50A85}"/>
                  </a:ext>
                </a:extLst>
              </p:cNvPr>
              <p:cNvSpPr/>
              <p:nvPr/>
            </p:nvSpPr>
            <p:spPr bwMode="auto">
              <a:xfrm>
                <a:off x="7400259" y="5674971"/>
                <a:ext cx="640078" cy="640081"/>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8" name="Group 297">
                <a:extLst>
                  <a:ext uri="{FF2B5EF4-FFF2-40B4-BE49-F238E27FC236}">
                    <a16:creationId xmlns:a16="http://schemas.microsoft.com/office/drawing/2014/main" id="{5EAA454E-6863-4BD5-979A-E7F05230E1BC}"/>
                  </a:ext>
                </a:extLst>
              </p:cNvPr>
              <p:cNvGrpSpPr/>
              <p:nvPr/>
            </p:nvGrpSpPr>
            <p:grpSpPr>
              <a:xfrm>
                <a:off x="7635101" y="5853274"/>
                <a:ext cx="170436" cy="283462"/>
                <a:chOff x="5622072" y="3034107"/>
                <a:chExt cx="225306" cy="374720"/>
              </a:xfrm>
            </p:grpSpPr>
            <p:sp>
              <p:nvSpPr>
                <p:cNvPr id="299" name="Freeform 5">
                  <a:extLst>
                    <a:ext uri="{FF2B5EF4-FFF2-40B4-BE49-F238E27FC236}">
                      <a16:creationId xmlns:a16="http://schemas.microsoft.com/office/drawing/2014/main" id="{E18F6C00-9A13-4969-B22B-858F850950AA}"/>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cmpd="sng" algn="ctr">
                  <a:solidFill>
                    <a:schemeClr val="bg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00" name="Oval 299">
                  <a:extLst>
                    <a:ext uri="{FF2B5EF4-FFF2-40B4-BE49-F238E27FC236}">
                      <a16:creationId xmlns:a16="http://schemas.microsoft.com/office/drawing/2014/main" id="{1B8161B0-B059-48AE-8C75-DD541004EEFB}"/>
                    </a:ext>
                  </a:extLst>
                </p:cNvPr>
                <p:cNvSpPr/>
                <p:nvPr/>
              </p:nvSpPr>
              <p:spPr bwMode="auto">
                <a:xfrm>
                  <a:off x="5670550" y="3124200"/>
                  <a:ext cx="107950" cy="107950"/>
                </a:xfrm>
                <a:prstGeom prst="ellipse">
                  <a:avLst/>
                </a:prstGeom>
                <a:noFill/>
                <a:ln w="9525" cap="flat" cmpd="sng" algn="ctr">
                  <a:solidFill>
                    <a:schemeClr val="bg2"/>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92" name="icon">
              <a:extLst>
                <a:ext uri="{FF2B5EF4-FFF2-40B4-BE49-F238E27FC236}">
                  <a16:creationId xmlns:a16="http://schemas.microsoft.com/office/drawing/2014/main" id="{6048CDDE-263A-4C21-AE38-BCFC37BE3731}"/>
                </a:ext>
                <a:ext uri="{C183D7F6-B498-43B3-948B-1728B52AA6E4}">
                  <adec:decorative xmlns:adec="http://schemas.microsoft.com/office/drawing/2017/decorative" xmlns="" val="1"/>
                </a:ext>
              </a:extLst>
            </p:cNvPr>
            <p:cNvGrpSpPr/>
            <p:nvPr/>
          </p:nvGrpSpPr>
          <p:grpSpPr>
            <a:xfrm>
              <a:off x="6484554" y="3723381"/>
              <a:ext cx="472532" cy="472532"/>
              <a:chOff x="3780160" y="3086703"/>
              <a:chExt cx="472599" cy="472599"/>
            </a:xfrm>
          </p:grpSpPr>
          <p:sp>
            <p:nvSpPr>
              <p:cNvPr id="293" name="Oval 292">
                <a:extLst>
                  <a:ext uri="{FF2B5EF4-FFF2-40B4-BE49-F238E27FC236}">
                    <a16:creationId xmlns:a16="http://schemas.microsoft.com/office/drawing/2014/main" id="{B94DD9FF-D3D2-4698-A703-C5DAEB8089A5}"/>
                  </a:ext>
                </a:extLst>
              </p:cNvPr>
              <p:cNvSpPr/>
              <p:nvPr/>
            </p:nvSpPr>
            <p:spPr bwMode="auto">
              <a:xfrm>
                <a:off x="3780160" y="3086703"/>
                <a:ext cx="472599" cy="472599"/>
              </a:xfrm>
              <a:prstGeom prst="ellipse">
                <a:avLst/>
              </a:prstGeom>
              <a:gradFill>
                <a:gsLst>
                  <a:gs pos="0">
                    <a:srgbClr val="0078D4"/>
                  </a:gs>
                  <a:gs pos="100000">
                    <a:srgbClr val="50E6FF"/>
                  </a:gs>
                </a:gsLst>
                <a:lin ang="3600000" scaled="0"/>
              </a:gradFill>
              <a:ln w="9525" cap="flat" cmpd="sng" algn="ctr">
                <a:gradFill>
                  <a:gsLst>
                    <a:gs pos="2000">
                      <a:schemeClr val="accent1"/>
                    </a:gs>
                    <a:gs pos="100000">
                      <a:schemeClr val="accent2"/>
                    </a:gs>
                  </a:gsLst>
                  <a:lin ang="3600000" scaled="0"/>
                </a:gradFill>
                <a:prstDash val="solid"/>
              </a:ln>
              <a:effectLst>
                <a:outerShdw blurRad="190500" dist="50800" dir="2700000" sx="101000" sy="101000" algn="tl" rotWithShape="0">
                  <a:prstClr val="black">
                    <a:alpha val="30000"/>
                  </a:prstClr>
                </a:outerShdw>
              </a:effectLst>
            </p:spPr>
            <p:txBody>
              <a:bodyPr rot="0" spcFirstLastPara="0"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4" name="Group 293">
                <a:extLst>
                  <a:ext uri="{FF2B5EF4-FFF2-40B4-BE49-F238E27FC236}">
                    <a16:creationId xmlns:a16="http://schemas.microsoft.com/office/drawing/2014/main" id="{95F644AC-8083-4452-B6EC-EBED5F30971F}"/>
                  </a:ext>
                </a:extLst>
              </p:cNvPr>
              <p:cNvGrpSpPr/>
              <p:nvPr/>
            </p:nvGrpSpPr>
            <p:grpSpPr>
              <a:xfrm>
                <a:off x="3828570" y="3130446"/>
                <a:ext cx="378990" cy="378990"/>
                <a:chOff x="4452509" y="919634"/>
                <a:chExt cx="523664" cy="523664"/>
              </a:xfrm>
            </p:grpSpPr>
            <p:sp>
              <p:nvSpPr>
                <p:cNvPr id="295" name="Oval 294">
                  <a:extLst>
                    <a:ext uri="{FF2B5EF4-FFF2-40B4-BE49-F238E27FC236}">
                      <a16:creationId xmlns:a16="http://schemas.microsoft.com/office/drawing/2014/main" id="{00700DDA-9214-47A6-86F8-C22239DC53DA}"/>
                    </a:ext>
                  </a:extLst>
                </p:cNvPr>
                <p:cNvSpPr/>
                <p:nvPr/>
              </p:nvSpPr>
              <p:spPr bwMode="auto">
                <a:xfrm rot="19620000" flipH="1">
                  <a:off x="4452509" y="919634"/>
                  <a:ext cx="523664" cy="523664"/>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Temperature_med">
                  <a:extLst>
                    <a:ext uri="{FF2B5EF4-FFF2-40B4-BE49-F238E27FC236}">
                      <a16:creationId xmlns:a16="http://schemas.microsoft.com/office/drawing/2014/main" id="{4FC53974-BD02-4131-91B0-258E05DED8C4}"/>
                    </a:ext>
                  </a:extLst>
                </p:cNvPr>
                <p:cNvSpPr>
                  <a:spLocks noChangeAspect="1" noEditPoints="1"/>
                </p:cNvSpPr>
                <p:nvPr/>
              </p:nvSpPr>
              <p:spPr bwMode="auto">
                <a:xfrm>
                  <a:off x="4642458"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9" rIns="89616" bIns="44809" numCol="1" anchor="t" anchorCtr="0" compatLnSpc="1">
                  <a:prstTxWarp prst="textNoShape">
                    <a:avLst/>
                  </a:prstTxWarp>
                </a:bodyPr>
                <a:lstStyle/>
                <a:p>
                  <a:pPr marL="0" marR="0" lvl="0" indent="0" algn="l" defTabSz="914015"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spTree>
    <p:extLst>
      <p:ext uri="{BB962C8B-B14F-4D97-AF65-F5344CB8AC3E}">
        <p14:creationId xmlns:p14="http://schemas.microsoft.com/office/powerpoint/2010/main" val="227922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1"/>
                                        </p:tgtEl>
                                        <p:attrNameLst>
                                          <p:attrName>style.visibility</p:attrName>
                                        </p:attrNameLst>
                                      </p:cBhvr>
                                      <p:to>
                                        <p:strVal val="visible"/>
                                      </p:to>
                                    </p:set>
                                    <p:animEffect transition="in" filter="fade">
                                      <p:cBhvr>
                                        <p:cTn id="7" dur="500"/>
                                        <p:tgtEl>
                                          <p:spTgt spid="341"/>
                                        </p:tgtEl>
                                      </p:cBhvr>
                                    </p:animEffect>
                                  </p:childTnLst>
                                </p:cTn>
                              </p:par>
                              <p:par>
                                <p:cTn id="8" presetID="42" presetClass="path" presetSubtype="0" decel="100000" fill="hold" grpId="1" nodeType="withEffect">
                                  <p:stCondLst>
                                    <p:cond delay="500"/>
                                  </p:stCondLst>
                                  <p:childTnLst>
                                    <p:animMotion origin="layout" path="M -2.70833E-6 2.59259E-6 L -2.70833E-6 0.01898 " pathEditMode="relative" rAng="0" ptsTypes="AA">
                                      <p:cBhvr>
                                        <p:cTn id="9" dur="700" spd="-100000" fill="hold"/>
                                        <p:tgtEl>
                                          <p:spTgt spid="34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B8323-B9CC-4DF9-A498-0C9816CF11BD}"/>
              </a:ext>
            </a:extLst>
          </p:cNvPr>
          <p:cNvSpPr>
            <a:spLocks noGrp="1"/>
          </p:cNvSpPr>
          <p:nvPr>
            <p:ph type="title"/>
          </p:nvPr>
        </p:nvSpPr>
        <p:spPr>
          <a:xfrm>
            <a:off x="379717" y="295672"/>
            <a:ext cx="11018520" cy="1107996"/>
          </a:xfrm>
        </p:spPr>
        <p:txBody>
          <a:bodyPr/>
          <a:lstStyle/>
          <a:p>
            <a:pPr algn="l"/>
            <a:r>
              <a:rPr lang="en-US">
                <a:solidFill>
                  <a:schemeClr val="accent2"/>
                </a:solidFill>
              </a:rPr>
              <a:t>Rely on multi-layered security controls across hybrid environments</a:t>
            </a:r>
          </a:p>
        </p:txBody>
      </p:sp>
      <p:sp>
        <p:nvSpPr>
          <p:cNvPr id="3" name="Text Placeholder 2">
            <a:extLst>
              <a:ext uri="{FF2B5EF4-FFF2-40B4-BE49-F238E27FC236}">
                <a16:creationId xmlns:a16="http://schemas.microsoft.com/office/drawing/2014/main" id="{D67116B7-4AB4-4890-925F-B15C6A643BB3}"/>
              </a:ext>
            </a:extLst>
          </p:cNvPr>
          <p:cNvSpPr>
            <a:spLocks noGrp="1"/>
          </p:cNvSpPr>
          <p:nvPr>
            <p:ph type="body" sz="quarter" idx="10"/>
          </p:nvPr>
        </p:nvSpPr>
        <p:spPr>
          <a:xfrm>
            <a:off x="5045006" y="3224512"/>
            <a:ext cx="2155408" cy="1369606"/>
          </a:xfrm>
        </p:spPr>
        <p:txBody>
          <a:bodyPr/>
          <a:lstStyle/>
          <a:p>
            <a:pPr algn="ctr"/>
            <a:r>
              <a:rPr lang="en-US"/>
              <a:t>Identity </a:t>
            </a:r>
            <a:br>
              <a:rPr lang="en-US"/>
            </a:br>
            <a:r>
              <a:rPr lang="en-US"/>
              <a:t>&amp; access</a:t>
            </a:r>
          </a:p>
          <a:p>
            <a:pPr lvl="1" algn="ctr"/>
            <a:r>
              <a:rPr lang="en-US"/>
              <a:t>Unify identity management and secure identities to implement zero trust</a:t>
            </a:r>
          </a:p>
        </p:txBody>
      </p:sp>
      <p:sp>
        <p:nvSpPr>
          <p:cNvPr id="4" name="Text Placeholder 3">
            <a:extLst>
              <a:ext uri="{FF2B5EF4-FFF2-40B4-BE49-F238E27FC236}">
                <a16:creationId xmlns:a16="http://schemas.microsoft.com/office/drawing/2014/main" id="{443D60A0-41B7-4205-A0AF-C810B31F4D50}"/>
              </a:ext>
            </a:extLst>
          </p:cNvPr>
          <p:cNvSpPr>
            <a:spLocks noGrp="1"/>
          </p:cNvSpPr>
          <p:nvPr>
            <p:ph type="body" sz="quarter" idx="11"/>
          </p:nvPr>
        </p:nvSpPr>
        <p:spPr>
          <a:xfrm>
            <a:off x="7721232" y="3220693"/>
            <a:ext cx="1645920" cy="1369606"/>
          </a:xfrm>
        </p:spPr>
        <p:txBody>
          <a:bodyPr/>
          <a:lstStyle/>
          <a:p>
            <a:pPr algn="ctr"/>
            <a:r>
              <a:rPr lang="en-US"/>
              <a:t>App and data security</a:t>
            </a:r>
          </a:p>
          <a:p>
            <a:pPr lvl="1" algn="ctr"/>
            <a:r>
              <a:rPr lang="en-US"/>
              <a:t>Encrypt data, and protect keys and secrets used by apps</a:t>
            </a:r>
          </a:p>
        </p:txBody>
      </p:sp>
      <p:sp>
        <p:nvSpPr>
          <p:cNvPr id="5" name="Text Placeholder 4">
            <a:extLst>
              <a:ext uri="{FF2B5EF4-FFF2-40B4-BE49-F238E27FC236}">
                <a16:creationId xmlns:a16="http://schemas.microsoft.com/office/drawing/2014/main" id="{A73EDB29-456C-4179-BB8E-24EF8159364B}"/>
              </a:ext>
            </a:extLst>
          </p:cNvPr>
          <p:cNvSpPr>
            <a:spLocks noGrp="1"/>
          </p:cNvSpPr>
          <p:nvPr>
            <p:ph type="body" sz="quarter" idx="12"/>
          </p:nvPr>
        </p:nvSpPr>
        <p:spPr>
          <a:xfrm>
            <a:off x="10003866" y="3222258"/>
            <a:ext cx="1645920" cy="1369606"/>
          </a:xfrm>
        </p:spPr>
        <p:txBody>
          <a:bodyPr/>
          <a:lstStyle/>
          <a:p>
            <a:pPr algn="ctr"/>
            <a:r>
              <a:rPr lang="en-US"/>
              <a:t>Network </a:t>
            </a:r>
            <a:br>
              <a:rPr lang="en-US"/>
            </a:br>
            <a:r>
              <a:rPr lang="en-US"/>
              <a:t>security</a:t>
            </a:r>
          </a:p>
          <a:p>
            <a:pPr lvl="1" algn="ctr"/>
            <a:r>
              <a:rPr lang="en-US"/>
              <a:t>Enhance the protection of your virtual networks</a:t>
            </a:r>
          </a:p>
        </p:txBody>
      </p:sp>
      <p:sp>
        <p:nvSpPr>
          <p:cNvPr id="17" name="Text Placeholder 16">
            <a:extLst>
              <a:ext uri="{FF2B5EF4-FFF2-40B4-BE49-F238E27FC236}">
                <a16:creationId xmlns:a16="http://schemas.microsoft.com/office/drawing/2014/main" id="{0971FEF7-D66B-4917-9235-1A6CA4AD7597}"/>
              </a:ext>
            </a:extLst>
          </p:cNvPr>
          <p:cNvSpPr>
            <a:spLocks noGrp="1"/>
          </p:cNvSpPr>
          <p:nvPr>
            <p:ph type="body" sz="quarter" idx="14"/>
          </p:nvPr>
        </p:nvSpPr>
        <p:spPr>
          <a:xfrm>
            <a:off x="2964527" y="3222364"/>
            <a:ext cx="1645920" cy="1369606"/>
          </a:xfrm>
        </p:spPr>
        <p:txBody>
          <a:bodyPr/>
          <a:lstStyle/>
          <a:p>
            <a:pPr algn="ctr"/>
            <a:r>
              <a:rPr lang="en-US"/>
              <a:t>Threat </a:t>
            </a:r>
            <a:br>
              <a:rPr lang="en-US"/>
            </a:br>
            <a:r>
              <a:rPr lang="en-US"/>
              <a:t>protection</a:t>
            </a:r>
          </a:p>
          <a:p>
            <a:pPr lvl="1" algn="ctr"/>
            <a:r>
              <a:rPr lang="en-US"/>
              <a:t>Access cloud-native SIEM and AI-driven security analytics</a:t>
            </a:r>
          </a:p>
        </p:txBody>
      </p:sp>
      <p:sp>
        <p:nvSpPr>
          <p:cNvPr id="18" name="Text Placeholder 17">
            <a:extLst>
              <a:ext uri="{FF2B5EF4-FFF2-40B4-BE49-F238E27FC236}">
                <a16:creationId xmlns:a16="http://schemas.microsoft.com/office/drawing/2014/main" id="{8A4D3BCB-1D02-4DED-A87F-EDD2B9F598D4}"/>
              </a:ext>
            </a:extLst>
          </p:cNvPr>
          <p:cNvSpPr>
            <a:spLocks noGrp="1"/>
          </p:cNvSpPr>
          <p:nvPr>
            <p:ph type="body" sz="quarter" idx="15"/>
          </p:nvPr>
        </p:nvSpPr>
        <p:spPr>
          <a:xfrm>
            <a:off x="688876" y="3214676"/>
            <a:ext cx="1841092" cy="1369606"/>
          </a:xfrm>
        </p:spPr>
        <p:txBody>
          <a:bodyPr/>
          <a:lstStyle/>
          <a:p>
            <a:pPr algn="ctr"/>
            <a:r>
              <a:rPr lang="en-US"/>
              <a:t>Security     management</a:t>
            </a:r>
          </a:p>
          <a:p>
            <a:pPr lvl="1" algn="ctr"/>
            <a:r>
              <a:rPr lang="en-US"/>
              <a:t>Manage security state of hybrid workloads with a single view</a:t>
            </a:r>
          </a:p>
        </p:txBody>
      </p:sp>
      <p:sp>
        <p:nvSpPr>
          <p:cNvPr id="33" name="Rectangle 32">
            <a:extLst>
              <a:ext uri="{FF2B5EF4-FFF2-40B4-BE49-F238E27FC236}">
                <a16:creationId xmlns:a16="http://schemas.microsoft.com/office/drawing/2014/main" id="{CCCEC53B-5BCA-4C30-893C-844A40555400}"/>
              </a:ext>
              <a:ext uri="{C183D7F6-B498-43B3-948B-1728B52AA6E4}">
                <adec:decorative xmlns:adec="http://schemas.microsoft.com/office/drawing/2017/decorative" xmlns="" val="1"/>
              </a:ext>
            </a:extLst>
          </p:cNvPr>
          <p:cNvSpPr/>
          <p:nvPr/>
        </p:nvSpPr>
        <p:spPr>
          <a:xfrm>
            <a:off x="8985290" y="193994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4" name="Rectangle 33">
            <a:extLst>
              <a:ext uri="{FF2B5EF4-FFF2-40B4-BE49-F238E27FC236}">
                <a16:creationId xmlns:a16="http://schemas.microsoft.com/office/drawing/2014/main" id="{2427225F-6301-4E15-935C-53A80FE42ACF}"/>
              </a:ext>
              <a:ext uri="{C183D7F6-B498-43B3-948B-1728B52AA6E4}">
                <adec:decorative xmlns:adec="http://schemas.microsoft.com/office/drawing/2017/decorative" xmlns="" val="1"/>
              </a:ext>
            </a:extLst>
          </p:cNvPr>
          <p:cNvSpPr/>
          <p:nvPr/>
        </p:nvSpPr>
        <p:spPr>
          <a:xfrm>
            <a:off x="532502" y="4560508"/>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7" name="Rectangle 36">
            <a:extLst>
              <a:ext uri="{FF2B5EF4-FFF2-40B4-BE49-F238E27FC236}">
                <a16:creationId xmlns:a16="http://schemas.microsoft.com/office/drawing/2014/main" id="{72E8388D-36F2-44F4-8380-86B5A7EE12BC}"/>
              </a:ext>
              <a:ext uri="{C183D7F6-B498-43B3-948B-1728B52AA6E4}">
                <adec:decorative xmlns:adec="http://schemas.microsoft.com/office/drawing/2017/decorative" xmlns="" val="1"/>
              </a:ext>
            </a:extLst>
          </p:cNvPr>
          <p:cNvSpPr/>
          <p:nvPr/>
        </p:nvSpPr>
        <p:spPr>
          <a:xfrm>
            <a:off x="2418874" y="4056626"/>
            <a:ext cx="2106965" cy="822960"/>
          </a:xfrm>
          <a:prstGeom prst="rect">
            <a:avLst/>
          </a:prstGeom>
        </p:spPr>
        <p:txBody>
          <a:bodyPr lIns="182880" tIns="0" rIns="182880" bIns="182880"/>
          <a:lstStyle/>
          <a:p>
            <a:pPr marL="0" marR="0" lvl="0" indent="0" algn="ctr" defTabSz="932742"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8" name="TextBox 37">
            <a:extLst>
              <a:ext uri="{FF2B5EF4-FFF2-40B4-BE49-F238E27FC236}">
                <a16:creationId xmlns:a16="http://schemas.microsoft.com/office/drawing/2014/main" id="{526E799D-AAEB-4108-8226-37695571357D}"/>
              </a:ext>
            </a:extLst>
          </p:cNvPr>
          <p:cNvSpPr txBox="1"/>
          <p:nvPr/>
        </p:nvSpPr>
        <p:spPr>
          <a:xfrm>
            <a:off x="7074724"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39" name="TextBox 38">
            <a:extLst>
              <a:ext uri="{FF2B5EF4-FFF2-40B4-BE49-F238E27FC236}">
                <a16:creationId xmlns:a16="http://schemas.microsoft.com/office/drawing/2014/main" id="{E10806E8-46E7-456B-842B-F213E655F82D}"/>
              </a:ext>
            </a:extLst>
          </p:cNvPr>
          <p:cNvSpPr txBox="1"/>
          <p:nvPr/>
        </p:nvSpPr>
        <p:spPr>
          <a:xfrm>
            <a:off x="12578695" y="5091865"/>
            <a:ext cx="411764" cy="505101"/>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40" name="Text Placeholder 79">
            <a:extLst>
              <a:ext uri="{FF2B5EF4-FFF2-40B4-BE49-F238E27FC236}">
                <a16:creationId xmlns:a16="http://schemas.microsoft.com/office/drawing/2014/main" id="{0C19458C-898C-4BA7-9F2D-F227B0A97268}"/>
              </a:ext>
            </a:extLst>
          </p:cNvPr>
          <p:cNvSpPr txBox="1">
            <a:spLocks/>
          </p:cNvSpPr>
          <p:nvPr/>
        </p:nvSpPr>
        <p:spPr>
          <a:xfrm>
            <a:off x="4795839" y="5356815"/>
            <a:ext cx="2351991"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Active Directory</a:t>
            </a:r>
          </a:p>
        </p:txBody>
      </p:sp>
      <p:sp>
        <p:nvSpPr>
          <p:cNvPr id="41" name="Text Placeholder 87">
            <a:extLst>
              <a:ext uri="{FF2B5EF4-FFF2-40B4-BE49-F238E27FC236}">
                <a16:creationId xmlns:a16="http://schemas.microsoft.com/office/drawing/2014/main" id="{B77CC9E0-36AF-4D98-8FAD-14A80A326E4D}"/>
              </a:ext>
            </a:extLst>
          </p:cNvPr>
          <p:cNvSpPr txBox="1">
            <a:spLocks/>
          </p:cNvSpPr>
          <p:nvPr/>
        </p:nvSpPr>
        <p:spPr>
          <a:xfrm>
            <a:off x="7485449" y="5367204"/>
            <a:ext cx="1640642"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Key Vault</a:t>
            </a:r>
          </a:p>
        </p:txBody>
      </p:sp>
      <p:grpSp>
        <p:nvGrpSpPr>
          <p:cNvPr id="90" name="Group 89">
            <a:extLst>
              <a:ext uri="{FF2B5EF4-FFF2-40B4-BE49-F238E27FC236}">
                <a16:creationId xmlns:a16="http://schemas.microsoft.com/office/drawing/2014/main" id="{64D6DDD0-6B90-4DBA-90F4-70A43CC07C6E}"/>
              </a:ext>
              <a:ext uri="{C183D7F6-B498-43B3-948B-1728B52AA6E4}">
                <adec:decorative xmlns:adec="http://schemas.microsoft.com/office/drawing/2017/decorative" xmlns="" val="1"/>
              </a:ext>
            </a:extLst>
          </p:cNvPr>
          <p:cNvGrpSpPr/>
          <p:nvPr/>
        </p:nvGrpSpPr>
        <p:grpSpPr>
          <a:xfrm>
            <a:off x="5888977" y="2119901"/>
            <a:ext cx="539938" cy="574854"/>
            <a:chOff x="1381629" y="2996336"/>
            <a:chExt cx="437141" cy="465410"/>
          </a:xfrm>
        </p:grpSpPr>
        <p:sp>
          <p:nvSpPr>
            <p:cNvPr id="86" name="Shield_EA18" title="Icon of a shield">
              <a:extLst>
                <a:ext uri="{FF2B5EF4-FFF2-40B4-BE49-F238E27FC236}">
                  <a16:creationId xmlns:a16="http://schemas.microsoft.com/office/drawing/2014/main" id="{2F861033-7D0F-4EE5-A592-2095B62034B5}"/>
                </a:ext>
              </a:extLst>
            </p:cNvPr>
            <p:cNvSpPr>
              <a:spLocks noChangeAspect="1"/>
            </p:cNvSpPr>
            <p:nvPr/>
          </p:nvSpPr>
          <p:spPr bwMode="auto">
            <a:xfrm>
              <a:off x="1381629" y="2996336"/>
              <a:ext cx="437141" cy="46541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hield_EA18" title="Icon of a shield">
              <a:extLst>
                <a:ext uri="{FF2B5EF4-FFF2-40B4-BE49-F238E27FC236}">
                  <a16:creationId xmlns:a16="http://schemas.microsoft.com/office/drawing/2014/main" id="{833D5335-24A8-43DD-900D-536DCB584876}"/>
                </a:ext>
              </a:extLst>
            </p:cNvPr>
            <p:cNvSpPr>
              <a:spLocks noChangeAspect="1"/>
            </p:cNvSpPr>
            <p:nvPr/>
          </p:nvSpPr>
          <p:spPr bwMode="auto">
            <a:xfrm>
              <a:off x="1423157" y="3040549"/>
              <a:ext cx="354084" cy="3769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5875"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D61D68D-6AB7-499E-9650-90B659E1155E}"/>
                </a:ext>
              </a:extLst>
            </p:cNvPr>
            <p:cNvSpPr/>
            <p:nvPr/>
          </p:nvSpPr>
          <p:spPr>
            <a:xfrm>
              <a:off x="1552177" y="3131457"/>
              <a:ext cx="96045" cy="148868"/>
            </a:xfrm>
            <a:custGeom>
              <a:avLst/>
              <a:gdLst>
                <a:gd name="connsiteX0" fmla="*/ 50329 w 96044"/>
                <a:gd name="connsiteY0" fmla="*/ 1801 h 148867"/>
                <a:gd name="connsiteX1" fmla="*/ 1801 w 96044"/>
                <a:gd name="connsiteY1" fmla="*/ 50328 h 148867"/>
                <a:gd name="connsiteX2" fmla="*/ 1801 w 96044"/>
                <a:gd name="connsiteY2" fmla="*/ 147383 h 148867"/>
                <a:gd name="connsiteX3" fmla="*/ 98856 w 96044"/>
                <a:gd name="connsiteY3" fmla="*/ 147383 h 148867"/>
                <a:gd name="connsiteX4" fmla="*/ 98856 w 96044"/>
                <a:gd name="connsiteY4" fmla="*/ 50328 h 148867"/>
                <a:gd name="connsiteX5" fmla="*/ 50329 w 96044"/>
                <a:gd name="connsiteY5" fmla="*/ 1801 h 148867"/>
                <a:gd name="connsiteX6" fmla="*/ 33182 w 96044"/>
                <a:gd name="connsiteY6" fmla="*/ 33182 h 148867"/>
                <a:gd name="connsiteX7" fmla="*/ 50329 w 96044"/>
                <a:gd name="connsiteY7" fmla="*/ 26064 h 148867"/>
                <a:gd name="connsiteX8" fmla="*/ 67475 w 96044"/>
                <a:gd name="connsiteY8" fmla="*/ 33182 h 148867"/>
                <a:gd name="connsiteX9" fmla="*/ 74593 w 96044"/>
                <a:gd name="connsiteY9" fmla="*/ 50328 h 148867"/>
                <a:gd name="connsiteX10" fmla="*/ 26065 w 96044"/>
                <a:gd name="connsiteY10" fmla="*/ 50328 h 148867"/>
                <a:gd name="connsiteX11" fmla="*/ 33182 w 96044"/>
                <a:gd name="connsiteY11" fmla="*/ 33182 h 148867"/>
                <a:gd name="connsiteX12" fmla="*/ 50329 w 96044"/>
                <a:gd name="connsiteY12" fmla="*/ 110987 h 148867"/>
                <a:gd name="connsiteX13" fmla="*/ 38197 w 96044"/>
                <a:gd name="connsiteY13" fmla="*/ 98855 h 148867"/>
                <a:gd name="connsiteX14" fmla="*/ 50329 w 96044"/>
                <a:gd name="connsiteY14" fmla="*/ 86724 h 148867"/>
                <a:gd name="connsiteX15" fmla="*/ 62461 w 96044"/>
                <a:gd name="connsiteY15" fmla="*/ 98855 h 148867"/>
                <a:gd name="connsiteX16" fmla="*/ 50329 w 96044"/>
                <a:gd name="connsiteY16" fmla="*/ 110987 h 1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044" h="148867">
                  <a:moveTo>
                    <a:pt x="50329" y="1801"/>
                  </a:moveTo>
                  <a:cubicBezTo>
                    <a:pt x="23638" y="1801"/>
                    <a:pt x="1801" y="23638"/>
                    <a:pt x="1801" y="50328"/>
                  </a:cubicBezTo>
                  <a:lnTo>
                    <a:pt x="1801" y="147383"/>
                  </a:lnTo>
                  <a:lnTo>
                    <a:pt x="98856" y="147383"/>
                  </a:lnTo>
                  <a:lnTo>
                    <a:pt x="98856" y="50328"/>
                  </a:lnTo>
                  <a:cubicBezTo>
                    <a:pt x="98856" y="23638"/>
                    <a:pt x="77019" y="1801"/>
                    <a:pt x="50329" y="1801"/>
                  </a:cubicBezTo>
                  <a:close/>
                  <a:moveTo>
                    <a:pt x="33182" y="33182"/>
                  </a:moveTo>
                  <a:cubicBezTo>
                    <a:pt x="37792" y="28572"/>
                    <a:pt x="43858" y="26064"/>
                    <a:pt x="50329" y="26064"/>
                  </a:cubicBezTo>
                  <a:cubicBezTo>
                    <a:pt x="56718" y="26064"/>
                    <a:pt x="62865" y="28572"/>
                    <a:pt x="67475" y="33182"/>
                  </a:cubicBezTo>
                  <a:cubicBezTo>
                    <a:pt x="72085" y="37792"/>
                    <a:pt x="74593" y="43857"/>
                    <a:pt x="74593" y="50328"/>
                  </a:cubicBezTo>
                  <a:lnTo>
                    <a:pt x="26065" y="50328"/>
                  </a:lnTo>
                  <a:cubicBezTo>
                    <a:pt x="26065" y="43939"/>
                    <a:pt x="28572" y="37792"/>
                    <a:pt x="33182" y="33182"/>
                  </a:cubicBezTo>
                  <a:close/>
                  <a:moveTo>
                    <a:pt x="50329" y="110987"/>
                  </a:moveTo>
                  <a:cubicBezTo>
                    <a:pt x="43616" y="110987"/>
                    <a:pt x="38197" y="105568"/>
                    <a:pt x="38197" y="98855"/>
                  </a:cubicBezTo>
                  <a:cubicBezTo>
                    <a:pt x="38197" y="92142"/>
                    <a:pt x="43616" y="86724"/>
                    <a:pt x="50329" y="86724"/>
                  </a:cubicBezTo>
                  <a:cubicBezTo>
                    <a:pt x="57042" y="86724"/>
                    <a:pt x="62461" y="92142"/>
                    <a:pt x="62461" y="98855"/>
                  </a:cubicBezTo>
                  <a:cubicBezTo>
                    <a:pt x="62461" y="105568"/>
                    <a:pt x="57042" y="110987"/>
                    <a:pt x="50329" y="110987"/>
                  </a:cubicBezTo>
                  <a:close/>
                </a:path>
              </a:pathLst>
            </a:custGeom>
            <a:solidFill>
              <a:srgbClr val="0078D4"/>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0D02413A-30F2-4CBB-88EC-9960E3042F1F}"/>
              </a:ext>
              <a:ext uri="{C183D7F6-B498-43B3-948B-1728B52AA6E4}">
                <adec:decorative xmlns:adec="http://schemas.microsoft.com/office/drawing/2017/decorative" xmlns="" val="1"/>
              </a:ext>
            </a:extLst>
          </p:cNvPr>
          <p:cNvGrpSpPr/>
          <p:nvPr/>
        </p:nvGrpSpPr>
        <p:grpSpPr>
          <a:xfrm>
            <a:off x="3540631" y="2135293"/>
            <a:ext cx="479425" cy="525462"/>
            <a:chOff x="3683000" y="2916238"/>
            <a:chExt cx="479425" cy="525462"/>
          </a:xfrm>
        </p:grpSpPr>
        <p:sp>
          <p:nvSpPr>
            <p:cNvPr id="125" name="AutoShape 3">
              <a:extLst>
                <a:ext uri="{FF2B5EF4-FFF2-40B4-BE49-F238E27FC236}">
                  <a16:creationId xmlns:a16="http://schemas.microsoft.com/office/drawing/2014/main" id="{C4BB1604-1E33-4F6D-9FFE-4CD87E7E933D}"/>
                </a:ext>
              </a:extLst>
            </p:cNvPr>
            <p:cNvSpPr>
              <a:spLocks noChangeAspect="1" noChangeArrowheads="1" noTextEdit="1"/>
            </p:cNvSpPr>
            <p:nvPr/>
          </p:nvSpPr>
          <p:spPr bwMode="auto">
            <a:xfrm>
              <a:off x="3686175" y="2916238"/>
              <a:ext cx="476250" cy="5222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5">
              <a:extLst>
                <a:ext uri="{FF2B5EF4-FFF2-40B4-BE49-F238E27FC236}">
                  <a16:creationId xmlns:a16="http://schemas.microsoft.com/office/drawing/2014/main" id="{0E2FEA6C-0320-41F6-8A5D-02A54EA17372}"/>
                </a:ext>
              </a:extLst>
            </p:cNvPr>
            <p:cNvSpPr>
              <a:spLocks/>
            </p:cNvSpPr>
            <p:nvPr/>
          </p:nvSpPr>
          <p:spPr bwMode="auto">
            <a:xfrm>
              <a:off x="3683000" y="2919413"/>
              <a:ext cx="479425" cy="522287"/>
            </a:xfrm>
            <a:custGeom>
              <a:avLst/>
              <a:gdLst>
                <a:gd name="T0" fmla="*/ 86 w 172"/>
                <a:gd name="T1" fmla="*/ 0 h 189"/>
                <a:gd name="T2" fmla="*/ 25 w 172"/>
                <a:gd name="T3" fmla="*/ 25 h 189"/>
                <a:gd name="T4" fmla="*/ 0 w 172"/>
                <a:gd name="T5" fmla="*/ 87 h 189"/>
                <a:gd name="T6" fmla="*/ 0 w 172"/>
                <a:gd name="T7" fmla="*/ 189 h 189"/>
                <a:gd name="T8" fmla="*/ 143 w 172"/>
                <a:gd name="T9" fmla="*/ 189 h 189"/>
                <a:gd name="T10" fmla="*/ 143 w 172"/>
                <a:gd name="T11" fmla="*/ 137 h 189"/>
                <a:gd name="T12" fmla="*/ 172 w 172"/>
                <a:gd name="T13" fmla="*/ 137 h 189"/>
                <a:gd name="T14" fmla="*/ 172 w 172"/>
                <a:gd name="T15" fmla="*/ 87 h 189"/>
                <a:gd name="T16" fmla="*/ 166 w 172"/>
                <a:gd name="T17" fmla="*/ 54 h 189"/>
                <a:gd name="T18" fmla="*/ 147 w 172"/>
                <a:gd name="T19" fmla="*/ 25 h 189"/>
                <a:gd name="T20" fmla="*/ 119 w 172"/>
                <a:gd name="T21" fmla="*/ 7 h 189"/>
                <a:gd name="T22" fmla="*/ 86 w 172"/>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189">
                  <a:moveTo>
                    <a:pt x="86" y="0"/>
                  </a:moveTo>
                  <a:cubicBezTo>
                    <a:pt x="63" y="0"/>
                    <a:pt x="42" y="9"/>
                    <a:pt x="25" y="25"/>
                  </a:cubicBezTo>
                  <a:cubicBezTo>
                    <a:pt x="9" y="42"/>
                    <a:pt x="0" y="64"/>
                    <a:pt x="0" y="87"/>
                  </a:cubicBezTo>
                  <a:cubicBezTo>
                    <a:pt x="0" y="189"/>
                    <a:pt x="0" y="189"/>
                    <a:pt x="0" y="189"/>
                  </a:cubicBezTo>
                  <a:cubicBezTo>
                    <a:pt x="143" y="189"/>
                    <a:pt x="143" y="189"/>
                    <a:pt x="143" y="189"/>
                  </a:cubicBezTo>
                  <a:cubicBezTo>
                    <a:pt x="143" y="137"/>
                    <a:pt x="143" y="137"/>
                    <a:pt x="143" y="137"/>
                  </a:cubicBezTo>
                  <a:cubicBezTo>
                    <a:pt x="172" y="137"/>
                    <a:pt x="172" y="137"/>
                    <a:pt x="172" y="137"/>
                  </a:cubicBezTo>
                  <a:cubicBezTo>
                    <a:pt x="172" y="87"/>
                    <a:pt x="172" y="87"/>
                    <a:pt x="172" y="87"/>
                  </a:cubicBezTo>
                  <a:cubicBezTo>
                    <a:pt x="172" y="75"/>
                    <a:pt x="170" y="64"/>
                    <a:pt x="166" y="54"/>
                  </a:cubicBezTo>
                  <a:cubicBezTo>
                    <a:pt x="161" y="43"/>
                    <a:pt x="155" y="33"/>
                    <a:pt x="147" y="25"/>
                  </a:cubicBezTo>
                  <a:cubicBezTo>
                    <a:pt x="139" y="17"/>
                    <a:pt x="130" y="11"/>
                    <a:pt x="119" y="7"/>
                  </a:cubicBezTo>
                  <a:cubicBezTo>
                    <a:pt x="109" y="2"/>
                    <a:pt x="97" y="0"/>
                    <a:pt x="86" y="0"/>
                  </a:cubicBezTo>
                  <a:close/>
                </a:path>
              </a:pathLst>
            </a:custGeom>
            <a:solidFill>
              <a:srgbClr val="0072C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Oval 6">
              <a:extLst>
                <a:ext uri="{FF2B5EF4-FFF2-40B4-BE49-F238E27FC236}">
                  <a16:creationId xmlns:a16="http://schemas.microsoft.com/office/drawing/2014/main" id="{368E736F-87F6-49B5-8C4E-83C660BA7430}"/>
                </a:ext>
              </a:extLst>
            </p:cNvPr>
            <p:cNvSpPr>
              <a:spLocks noChangeArrowheads="1"/>
            </p:cNvSpPr>
            <p:nvPr/>
          </p:nvSpPr>
          <p:spPr bwMode="auto">
            <a:xfrm>
              <a:off x="3800475" y="3225800"/>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Oval 7">
              <a:extLst>
                <a:ext uri="{FF2B5EF4-FFF2-40B4-BE49-F238E27FC236}">
                  <a16:creationId xmlns:a16="http://schemas.microsoft.com/office/drawing/2014/main" id="{E37E7F3E-C078-4320-8B7E-C428A5B9E12F}"/>
                </a:ext>
              </a:extLst>
            </p:cNvPr>
            <p:cNvSpPr>
              <a:spLocks noChangeArrowheads="1"/>
            </p:cNvSpPr>
            <p:nvPr/>
          </p:nvSpPr>
          <p:spPr bwMode="auto">
            <a:xfrm>
              <a:off x="3944938" y="3073400"/>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Oval 8">
              <a:extLst>
                <a:ext uri="{FF2B5EF4-FFF2-40B4-BE49-F238E27FC236}">
                  <a16:creationId xmlns:a16="http://schemas.microsoft.com/office/drawing/2014/main" id="{9A8A9F5C-4A79-48C7-9924-2CAC98750275}"/>
                </a:ext>
              </a:extLst>
            </p:cNvPr>
            <p:cNvSpPr>
              <a:spLocks noChangeArrowheads="1"/>
            </p:cNvSpPr>
            <p:nvPr/>
          </p:nvSpPr>
          <p:spPr bwMode="auto">
            <a:xfrm>
              <a:off x="3730625" y="3140075"/>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Oval 9">
              <a:extLst>
                <a:ext uri="{FF2B5EF4-FFF2-40B4-BE49-F238E27FC236}">
                  <a16:creationId xmlns:a16="http://schemas.microsoft.com/office/drawing/2014/main" id="{3000ED99-0EDF-4F26-B5C9-2AE9D491FCFA}"/>
                </a:ext>
              </a:extLst>
            </p:cNvPr>
            <p:cNvSpPr>
              <a:spLocks noChangeArrowheads="1"/>
            </p:cNvSpPr>
            <p:nvPr/>
          </p:nvSpPr>
          <p:spPr bwMode="auto">
            <a:xfrm>
              <a:off x="3770313" y="3032125"/>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Oval 10">
              <a:extLst>
                <a:ext uri="{FF2B5EF4-FFF2-40B4-BE49-F238E27FC236}">
                  <a16:creationId xmlns:a16="http://schemas.microsoft.com/office/drawing/2014/main" id="{62424B31-04FC-4A6C-85B3-BDEF3EE5A0EA}"/>
                </a:ext>
              </a:extLst>
            </p:cNvPr>
            <p:cNvSpPr>
              <a:spLocks noChangeArrowheads="1"/>
            </p:cNvSpPr>
            <p:nvPr/>
          </p:nvSpPr>
          <p:spPr bwMode="auto">
            <a:xfrm>
              <a:off x="3856038" y="2986088"/>
              <a:ext cx="33338" cy="31750"/>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1">
              <a:extLst>
                <a:ext uri="{FF2B5EF4-FFF2-40B4-BE49-F238E27FC236}">
                  <a16:creationId xmlns:a16="http://schemas.microsoft.com/office/drawing/2014/main" id="{1BAEA6CF-B827-4652-8829-B1CDBB92BE49}"/>
                </a:ext>
              </a:extLst>
            </p:cNvPr>
            <p:cNvSpPr>
              <a:spLocks noChangeArrowheads="1"/>
            </p:cNvSpPr>
            <p:nvPr/>
          </p:nvSpPr>
          <p:spPr bwMode="auto">
            <a:xfrm>
              <a:off x="3995738" y="2998788"/>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2">
              <a:extLst>
                <a:ext uri="{FF2B5EF4-FFF2-40B4-BE49-F238E27FC236}">
                  <a16:creationId xmlns:a16="http://schemas.microsoft.com/office/drawing/2014/main" id="{28429CDD-BE2A-491C-A22B-6D2256EC60F9}"/>
                </a:ext>
              </a:extLst>
            </p:cNvPr>
            <p:cNvSpPr>
              <a:spLocks noChangeArrowheads="1"/>
            </p:cNvSpPr>
            <p:nvPr/>
          </p:nvSpPr>
          <p:spPr bwMode="auto">
            <a:xfrm>
              <a:off x="4067175" y="3076575"/>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
              <a:extLst>
                <a:ext uri="{FF2B5EF4-FFF2-40B4-BE49-F238E27FC236}">
                  <a16:creationId xmlns:a16="http://schemas.microsoft.com/office/drawing/2014/main" id="{9A0379A3-F209-4B70-862F-671C833B25D1}"/>
                </a:ext>
              </a:extLst>
            </p:cNvPr>
            <p:cNvSpPr>
              <a:spLocks noChangeArrowheads="1"/>
            </p:cNvSpPr>
            <p:nvPr/>
          </p:nvSpPr>
          <p:spPr bwMode="auto">
            <a:xfrm>
              <a:off x="4043363" y="3162300"/>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Oval 14">
              <a:extLst>
                <a:ext uri="{FF2B5EF4-FFF2-40B4-BE49-F238E27FC236}">
                  <a16:creationId xmlns:a16="http://schemas.microsoft.com/office/drawing/2014/main" id="{FF5FFEAE-27B4-4B5D-9D26-357E5D49CE1F}"/>
                </a:ext>
              </a:extLst>
            </p:cNvPr>
            <p:cNvSpPr>
              <a:spLocks noChangeArrowheads="1"/>
            </p:cNvSpPr>
            <p:nvPr/>
          </p:nvSpPr>
          <p:spPr bwMode="auto">
            <a:xfrm>
              <a:off x="3973513" y="3195638"/>
              <a:ext cx="33338" cy="30162"/>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Oval 15">
              <a:extLst>
                <a:ext uri="{FF2B5EF4-FFF2-40B4-BE49-F238E27FC236}">
                  <a16:creationId xmlns:a16="http://schemas.microsoft.com/office/drawing/2014/main" id="{5D956AE3-9CAA-4C96-8D84-D14672730CC5}"/>
                </a:ext>
              </a:extLst>
            </p:cNvPr>
            <p:cNvSpPr>
              <a:spLocks noChangeArrowheads="1"/>
            </p:cNvSpPr>
            <p:nvPr/>
          </p:nvSpPr>
          <p:spPr bwMode="auto">
            <a:xfrm>
              <a:off x="3867150" y="3170238"/>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Oval 16">
              <a:extLst>
                <a:ext uri="{FF2B5EF4-FFF2-40B4-BE49-F238E27FC236}">
                  <a16:creationId xmlns:a16="http://schemas.microsoft.com/office/drawing/2014/main" id="{7A825E46-E492-4B71-8C7D-C23A37CEF351}"/>
                </a:ext>
              </a:extLst>
            </p:cNvPr>
            <p:cNvSpPr>
              <a:spLocks noChangeArrowheads="1"/>
            </p:cNvSpPr>
            <p:nvPr/>
          </p:nvSpPr>
          <p:spPr bwMode="auto">
            <a:xfrm>
              <a:off x="3848100" y="3090863"/>
              <a:ext cx="33338" cy="30162"/>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Oval 17">
              <a:extLst>
                <a:ext uri="{FF2B5EF4-FFF2-40B4-BE49-F238E27FC236}">
                  <a16:creationId xmlns:a16="http://schemas.microsoft.com/office/drawing/2014/main" id="{D531A4A8-5DC2-4B38-B08B-63529F6AD84E}"/>
                </a:ext>
              </a:extLst>
            </p:cNvPr>
            <p:cNvSpPr>
              <a:spLocks noChangeArrowheads="1"/>
            </p:cNvSpPr>
            <p:nvPr/>
          </p:nvSpPr>
          <p:spPr bwMode="auto">
            <a:xfrm>
              <a:off x="3914775" y="3244850"/>
              <a:ext cx="30163"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Line 18">
              <a:extLst>
                <a:ext uri="{FF2B5EF4-FFF2-40B4-BE49-F238E27FC236}">
                  <a16:creationId xmlns:a16="http://schemas.microsoft.com/office/drawing/2014/main" id="{BF2D7D45-338F-4199-B7E1-80AD30731017}"/>
                </a:ext>
              </a:extLst>
            </p:cNvPr>
            <p:cNvSpPr>
              <a:spLocks noChangeShapeType="1"/>
            </p:cNvSpPr>
            <p:nvPr/>
          </p:nvSpPr>
          <p:spPr bwMode="auto">
            <a:xfrm flipV="1">
              <a:off x="3941763" y="3221038"/>
              <a:ext cx="39688" cy="3016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Line 19">
              <a:extLst>
                <a:ext uri="{FF2B5EF4-FFF2-40B4-BE49-F238E27FC236}">
                  <a16:creationId xmlns:a16="http://schemas.microsoft.com/office/drawing/2014/main" id="{31EF1FE8-C5D8-4B62-BE2E-3010B4A8553B}"/>
                </a:ext>
              </a:extLst>
            </p:cNvPr>
            <p:cNvSpPr>
              <a:spLocks noChangeShapeType="1"/>
            </p:cNvSpPr>
            <p:nvPr/>
          </p:nvSpPr>
          <p:spPr bwMode="auto">
            <a:xfrm flipV="1">
              <a:off x="4006850" y="3187700"/>
              <a:ext cx="41275" cy="2381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Line 20">
              <a:extLst>
                <a:ext uri="{FF2B5EF4-FFF2-40B4-BE49-F238E27FC236}">
                  <a16:creationId xmlns:a16="http://schemas.microsoft.com/office/drawing/2014/main" id="{C929DA8B-668B-4A7F-BB99-3315AEDD2AD7}"/>
                </a:ext>
              </a:extLst>
            </p:cNvPr>
            <p:cNvSpPr>
              <a:spLocks noChangeShapeType="1"/>
            </p:cNvSpPr>
            <p:nvPr/>
          </p:nvSpPr>
          <p:spPr bwMode="auto">
            <a:xfrm flipV="1">
              <a:off x="4070350" y="3109913"/>
              <a:ext cx="14288" cy="5556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Line 21">
              <a:extLst>
                <a:ext uri="{FF2B5EF4-FFF2-40B4-BE49-F238E27FC236}">
                  <a16:creationId xmlns:a16="http://schemas.microsoft.com/office/drawing/2014/main" id="{EE3BAD7A-3F1D-4EF3-AE13-0A08896E975A}"/>
                </a:ext>
              </a:extLst>
            </p:cNvPr>
            <p:cNvSpPr>
              <a:spLocks noChangeShapeType="1"/>
            </p:cNvSpPr>
            <p:nvPr/>
          </p:nvSpPr>
          <p:spPr bwMode="auto">
            <a:xfrm>
              <a:off x="3759200" y="3173413"/>
              <a:ext cx="49213" cy="58737"/>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Line 22">
              <a:extLst>
                <a:ext uri="{FF2B5EF4-FFF2-40B4-BE49-F238E27FC236}">
                  <a16:creationId xmlns:a16="http://schemas.microsoft.com/office/drawing/2014/main" id="{D6E09B82-8287-4C10-8A94-906A78B899FA}"/>
                </a:ext>
              </a:extLst>
            </p:cNvPr>
            <p:cNvSpPr>
              <a:spLocks noChangeShapeType="1"/>
            </p:cNvSpPr>
            <p:nvPr/>
          </p:nvSpPr>
          <p:spPr bwMode="auto">
            <a:xfrm flipV="1">
              <a:off x="3748088" y="3060700"/>
              <a:ext cx="30163" cy="79375"/>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Line 23">
              <a:extLst>
                <a:ext uri="{FF2B5EF4-FFF2-40B4-BE49-F238E27FC236}">
                  <a16:creationId xmlns:a16="http://schemas.microsoft.com/office/drawing/2014/main" id="{CE1C30F0-8971-4BD7-ADDB-E55D47AD5AFA}"/>
                </a:ext>
              </a:extLst>
            </p:cNvPr>
            <p:cNvSpPr>
              <a:spLocks noChangeShapeType="1"/>
            </p:cNvSpPr>
            <p:nvPr/>
          </p:nvSpPr>
          <p:spPr bwMode="auto">
            <a:xfrm flipV="1">
              <a:off x="3797300" y="3013075"/>
              <a:ext cx="58738" cy="25400"/>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Line 24">
              <a:extLst>
                <a:ext uri="{FF2B5EF4-FFF2-40B4-BE49-F238E27FC236}">
                  <a16:creationId xmlns:a16="http://schemas.microsoft.com/office/drawing/2014/main" id="{E467B50F-C036-469B-A6A4-7179B2D43CF2}"/>
                </a:ext>
              </a:extLst>
            </p:cNvPr>
            <p:cNvSpPr>
              <a:spLocks noChangeShapeType="1"/>
            </p:cNvSpPr>
            <p:nvPr/>
          </p:nvSpPr>
          <p:spPr bwMode="auto">
            <a:xfrm>
              <a:off x="3889375" y="3001963"/>
              <a:ext cx="106363" cy="14287"/>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Line 25">
              <a:extLst>
                <a:ext uri="{FF2B5EF4-FFF2-40B4-BE49-F238E27FC236}">
                  <a16:creationId xmlns:a16="http://schemas.microsoft.com/office/drawing/2014/main" id="{7EF2D25C-1196-451B-8870-92338407B1B1}"/>
                </a:ext>
              </a:extLst>
            </p:cNvPr>
            <p:cNvSpPr>
              <a:spLocks noChangeShapeType="1"/>
            </p:cNvSpPr>
            <p:nvPr/>
          </p:nvSpPr>
          <p:spPr bwMode="auto">
            <a:xfrm>
              <a:off x="4022725" y="3024188"/>
              <a:ext cx="55563" cy="5556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Line 26">
              <a:extLst>
                <a:ext uri="{FF2B5EF4-FFF2-40B4-BE49-F238E27FC236}">
                  <a16:creationId xmlns:a16="http://schemas.microsoft.com/office/drawing/2014/main" id="{9F83FFD3-D67A-429E-9F49-B8656B140038}"/>
                </a:ext>
              </a:extLst>
            </p:cNvPr>
            <p:cNvSpPr>
              <a:spLocks noChangeShapeType="1"/>
            </p:cNvSpPr>
            <p:nvPr/>
          </p:nvSpPr>
          <p:spPr bwMode="auto">
            <a:xfrm flipH="1" flipV="1">
              <a:off x="3978275" y="3090863"/>
              <a:ext cx="88900" cy="1587"/>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Line 27">
              <a:extLst>
                <a:ext uri="{FF2B5EF4-FFF2-40B4-BE49-F238E27FC236}">
                  <a16:creationId xmlns:a16="http://schemas.microsoft.com/office/drawing/2014/main" id="{E7620403-788C-4A42-B77A-2D7A9D779FE8}"/>
                </a:ext>
              </a:extLst>
            </p:cNvPr>
            <p:cNvSpPr>
              <a:spLocks noChangeShapeType="1"/>
            </p:cNvSpPr>
            <p:nvPr/>
          </p:nvSpPr>
          <p:spPr bwMode="auto">
            <a:xfrm flipV="1">
              <a:off x="3967163" y="3027363"/>
              <a:ext cx="33338" cy="4921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Line 28">
              <a:extLst>
                <a:ext uri="{FF2B5EF4-FFF2-40B4-BE49-F238E27FC236}">
                  <a16:creationId xmlns:a16="http://schemas.microsoft.com/office/drawing/2014/main" id="{124C458A-5473-4CAF-B9F3-CB5BE4596AF2}"/>
                </a:ext>
              </a:extLst>
            </p:cNvPr>
            <p:cNvSpPr>
              <a:spLocks noChangeShapeType="1"/>
            </p:cNvSpPr>
            <p:nvPr/>
          </p:nvSpPr>
          <p:spPr bwMode="auto">
            <a:xfrm flipV="1">
              <a:off x="3863975" y="3016250"/>
              <a:ext cx="14288" cy="7461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Line 29">
              <a:extLst>
                <a:ext uri="{FF2B5EF4-FFF2-40B4-BE49-F238E27FC236}">
                  <a16:creationId xmlns:a16="http://schemas.microsoft.com/office/drawing/2014/main" id="{AF5AB516-441D-46F7-B030-66A45E540720}"/>
                </a:ext>
              </a:extLst>
            </p:cNvPr>
            <p:cNvSpPr>
              <a:spLocks noChangeShapeType="1"/>
            </p:cNvSpPr>
            <p:nvPr/>
          </p:nvSpPr>
          <p:spPr bwMode="auto">
            <a:xfrm flipV="1">
              <a:off x="3881438" y="3095625"/>
              <a:ext cx="66675" cy="7937"/>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Line 30">
              <a:extLst>
                <a:ext uri="{FF2B5EF4-FFF2-40B4-BE49-F238E27FC236}">
                  <a16:creationId xmlns:a16="http://schemas.microsoft.com/office/drawing/2014/main" id="{55D7C321-427D-4298-9F99-198D26A53A8C}"/>
                </a:ext>
              </a:extLst>
            </p:cNvPr>
            <p:cNvSpPr>
              <a:spLocks noChangeShapeType="1"/>
            </p:cNvSpPr>
            <p:nvPr/>
          </p:nvSpPr>
          <p:spPr bwMode="auto">
            <a:xfrm flipH="1" flipV="1">
              <a:off x="3800475" y="3060700"/>
              <a:ext cx="47625" cy="4286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Line 31">
              <a:extLst>
                <a:ext uri="{FF2B5EF4-FFF2-40B4-BE49-F238E27FC236}">
                  <a16:creationId xmlns:a16="http://schemas.microsoft.com/office/drawing/2014/main" id="{BC7F4589-A30C-4885-8914-E8991CA28149}"/>
                </a:ext>
              </a:extLst>
            </p:cNvPr>
            <p:cNvSpPr>
              <a:spLocks noChangeShapeType="1"/>
            </p:cNvSpPr>
            <p:nvPr/>
          </p:nvSpPr>
          <p:spPr bwMode="auto">
            <a:xfrm>
              <a:off x="3967163" y="3106738"/>
              <a:ext cx="17463" cy="88900"/>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Line 32">
              <a:extLst>
                <a:ext uri="{FF2B5EF4-FFF2-40B4-BE49-F238E27FC236}">
                  <a16:creationId xmlns:a16="http://schemas.microsoft.com/office/drawing/2014/main" id="{C13ACE91-1F15-4967-AA2D-69B98AA29FA3}"/>
                </a:ext>
              </a:extLst>
            </p:cNvPr>
            <p:cNvSpPr>
              <a:spLocks noChangeShapeType="1"/>
            </p:cNvSpPr>
            <p:nvPr/>
          </p:nvSpPr>
          <p:spPr bwMode="auto">
            <a:xfrm>
              <a:off x="3900488" y="3187700"/>
              <a:ext cx="73025" cy="2381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Line 33">
              <a:extLst>
                <a:ext uri="{FF2B5EF4-FFF2-40B4-BE49-F238E27FC236}">
                  <a16:creationId xmlns:a16="http://schemas.microsoft.com/office/drawing/2014/main" id="{9331BB90-3230-45E5-99A6-57505D3E3458}"/>
                </a:ext>
              </a:extLst>
            </p:cNvPr>
            <p:cNvSpPr>
              <a:spLocks noChangeShapeType="1"/>
            </p:cNvSpPr>
            <p:nvPr/>
          </p:nvSpPr>
          <p:spPr bwMode="auto">
            <a:xfrm flipV="1">
              <a:off x="3895725" y="3103563"/>
              <a:ext cx="60325" cy="66675"/>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Line 34">
              <a:extLst>
                <a:ext uri="{FF2B5EF4-FFF2-40B4-BE49-F238E27FC236}">
                  <a16:creationId xmlns:a16="http://schemas.microsoft.com/office/drawing/2014/main" id="{A27E2C57-288F-4832-AE4B-781CCB64AF6C}"/>
                </a:ext>
              </a:extLst>
            </p:cNvPr>
            <p:cNvSpPr>
              <a:spLocks noChangeShapeType="1"/>
            </p:cNvSpPr>
            <p:nvPr/>
          </p:nvSpPr>
          <p:spPr bwMode="auto">
            <a:xfrm flipH="1" flipV="1">
              <a:off x="3873500" y="3121025"/>
              <a:ext cx="4763" cy="5556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Line 35">
              <a:extLst>
                <a:ext uri="{FF2B5EF4-FFF2-40B4-BE49-F238E27FC236}">
                  <a16:creationId xmlns:a16="http://schemas.microsoft.com/office/drawing/2014/main" id="{86D1068F-DD3F-429A-A88A-F033EEB3FB06}"/>
                </a:ext>
              </a:extLst>
            </p:cNvPr>
            <p:cNvSpPr>
              <a:spLocks noChangeShapeType="1"/>
            </p:cNvSpPr>
            <p:nvPr/>
          </p:nvSpPr>
          <p:spPr bwMode="auto">
            <a:xfrm flipH="1">
              <a:off x="3763963" y="3113088"/>
              <a:ext cx="88900" cy="38100"/>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Line 36">
              <a:extLst>
                <a:ext uri="{FF2B5EF4-FFF2-40B4-BE49-F238E27FC236}">
                  <a16:creationId xmlns:a16="http://schemas.microsoft.com/office/drawing/2014/main" id="{40CF9535-B984-48F8-8CD1-9EB8BCA46BED}"/>
                </a:ext>
              </a:extLst>
            </p:cNvPr>
            <p:cNvSpPr>
              <a:spLocks noChangeShapeType="1"/>
            </p:cNvSpPr>
            <p:nvPr/>
          </p:nvSpPr>
          <p:spPr bwMode="auto">
            <a:xfrm>
              <a:off x="3760788" y="3165475"/>
              <a:ext cx="106363" cy="22225"/>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Line 37">
              <a:extLst>
                <a:ext uri="{FF2B5EF4-FFF2-40B4-BE49-F238E27FC236}">
                  <a16:creationId xmlns:a16="http://schemas.microsoft.com/office/drawing/2014/main" id="{CBD011A8-65FF-46BC-8A26-44DCDCEE4AB5}"/>
                </a:ext>
              </a:extLst>
            </p:cNvPr>
            <p:cNvSpPr>
              <a:spLocks noChangeShapeType="1"/>
            </p:cNvSpPr>
            <p:nvPr/>
          </p:nvSpPr>
          <p:spPr bwMode="auto">
            <a:xfrm flipH="1" flipV="1">
              <a:off x="3976688" y="3101975"/>
              <a:ext cx="68263" cy="63500"/>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Line 38">
              <a:extLst>
                <a:ext uri="{FF2B5EF4-FFF2-40B4-BE49-F238E27FC236}">
                  <a16:creationId xmlns:a16="http://schemas.microsoft.com/office/drawing/2014/main" id="{BB3764D0-B913-49F5-B4B6-2AF1540DD2B3}"/>
                </a:ext>
              </a:extLst>
            </p:cNvPr>
            <p:cNvSpPr>
              <a:spLocks noChangeShapeType="1"/>
            </p:cNvSpPr>
            <p:nvPr/>
          </p:nvSpPr>
          <p:spPr bwMode="auto">
            <a:xfrm flipV="1">
              <a:off x="3816350" y="3259138"/>
              <a:ext cx="0" cy="60325"/>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Line 39">
              <a:extLst>
                <a:ext uri="{FF2B5EF4-FFF2-40B4-BE49-F238E27FC236}">
                  <a16:creationId xmlns:a16="http://schemas.microsoft.com/office/drawing/2014/main" id="{C538E32C-1DB3-4115-BAC4-2EE1FA96CA7A}"/>
                </a:ext>
              </a:extLst>
            </p:cNvPr>
            <p:cNvSpPr>
              <a:spLocks noChangeShapeType="1"/>
            </p:cNvSpPr>
            <p:nvPr/>
          </p:nvSpPr>
          <p:spPr bwMode="auto">
            <a:xfrm flipV="1">
              <a:off x="3830638" y="3198813"/>
              <a:ext cx="42863" cy="33337"/>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Line 40">
              <a:extLst>
                <a:ext uri="{FF2B5EF4-FFF2-40B4-BE49-F238E27FC236}">
                  <a16:creationId xmlns:a16="http://schemas.microsoft.com/office/drawing/2014/main" id="{3C2443AB-036D-4EA2-8F46-7136DBEF20D4}"/>
                </a:ext>
              </a:extLst>
            </p:cNvPr>
            <p:cNvSpPr>
              <a:spLocks noChangeShapeType="1"/>
            </p:cNvSpPr>
            <p:nvPr/>
          </p:nvSpPr>
          <p:spPr bwMode="auto">
            <a:xfrm>
              <a:off x="3884613" y="3203575"/>
              <a:ext cx="34925" cy="49212"/>
            </a:xfrm>
            <a:prstGeom prst="line">
              <a:avLst/>
            </a:prstGeom>
            <a:noFill/>
            <a:ln w="793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Oval 41">
              <a:extLst>
                <a:ext uri="{FF2B5EF4-FFF2-40B4-BE49-F238E27FC236}">
                  <a16:creationId xmlns:a16="http://schemas.microsoft.com/office/drawing/2014/main" id="{5B74D411-194F-451B-82DA-500DE16C956A}"/>
                </a:ext>
              </a:extLst>
            </p:cNvPr>
            <p:cNvSpPr>
              <a:spLocks noChangeArrowheads="1"/>
            </p:cNvSpPr>
            <p:nvPr/>
          </p:nvSpPr>
          <p:spPr bwMode="auto">
            <a:xfrm>
              <a:off x="3800475" y="3303588"/>
              <a:ext cx="33338" cy="33337"/>
            </a:xfrm>
            <a:prstGeom prst="ellipse">
              <a:avLst/>
            </a:prstGeom>
            <a:solidFill>
              <a:schemeClr val="accent2"/>
            </a:solidFill>
            <a:ln w="7938"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6" name="Graphic 164">
            <a:extLst>
              <a:ext uri="{FF2B5EF4-FFF2-40B4-BE49-F238E27FC236}">
                <a16:creationId xmlns:a16="http://schemas.microsoft.com/office/drawing/2014/main" id="{5F594932-F27B-4A45-840F-E1E9A4F937C5}"/>
              </a:ext>
              <a:ext uri="{C183D7F6-B498-43B3-948B-1728B52AA6E4}">
                <adec:decorative xmlns:adec="http://schemas.microsoft.com/office/drawing/2017/decorative" xmlns="" val="1"/>
              </a:ext>
            </a:extLst>
          </p:cNvPr>
          <p:cNvGrpSpPr/>
          <p:nvPr/>
        </p:nvGrpSpPr>
        <p:grpSpPr>
          <a:xfrm>
            <a:off x="10479860" y="2091380"/>
            <a:ext cx="665908" cy="654004"/>
            <a:chOff x="5138426" y="3158232"/>
            <a:chExt cx="756801" cy="743274"/>
          </a:xfrm>
        </p:grpSpPr>
        <p:sp>
          <p:nvSpPr>
            <p:cNvPr id="167" name="Freeform: Shape 166">
              <a:extLst>
                <a:ext uri="{FF2B5EF4-FFF2-40B4-BE49-F238E27FC236}">
                  <a16:creationId xmlns:a16="http://schemas.microsoft.com/office/drawing/2014/main" id="{F06121DA-A71D-4444-86D4-C2ABEF063E6D}"/>
                </a:ext>
              </a:extLst>
            </p:cNvPr>
            <p:cNvSpPr/>
            <p:nvPr/>
          </p:nvSpPr>
          <p:spPr>
            <a:xfrm>
              <a:off x="5291606" y="3158232"/>
              <a:ext cx="603621" cy="460279"/>
            </a:xfrm>
            <a:custGeom>
              <a:avLst/>
              <a:gdLst>
                <a:gd name="connsiteX0" fmla="*/ 143322 w 603621"/>
                <a:gd name="connsiteY0" fmla="*/ 149549 h 460279"/>
                <a:gd name="connsiteX1" fmla="*/ 321694 w 603621"/>
                <a:gd name="connsiteY1" fmla="*/ 0 h 460279"/>
                <a:gd name="connsiteX2" fmla="*/ 502644 w 603621"/>
                <a:gd name="connsiteY2" fmla="*/ 178460 h 460279"/>
                <a:gd name="connsiteX3" fmla="*/ 499368 w 603621"/>
                <a:gd name="connsiteY3" fmla="*/ 211885 h 460279"/>
                <a:gd name="connsiteX4" fmla="*/ 603621 w 603621"/>
                <a:gd name="connsiteY4" fmla="*/ 335412 h 460279"/>
                <a:gd name="connsiteX5" fmla="*/ 487098 w 603621"/>
                <a:gd name="connsiteY5" fmla="*/ 460279 h 460279"/>
                <a:gd name="connsiteX6" fmla="*/ 154196 w 603621"/>
                <a:gd name="connsiteY6" fmla="*/ 460279 h 460279"/>
                <a:gd name="connsiteX7" fmla="*/ 0 w 603621"/>
                <a:gd name="connsiteY7" fmla="*/ 302389 h 460279"/>
                <a:gd name="connsiteX8" fmla="*/ 143322 w 603621"/>
                <a:gd name="connsiteY8" fmla="*/ 149549 h 46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21" h="460279">
                  <a:moveTo>
                    <a:pt x="143322" y="149549"/>
                  </a:moveTo>
                  <a:cubicBezTo>
                    <a:pt x="157366" y="64765"/>
                    <a:pt x="231757" y="0"/>
                    <a:pt x="321694" y="0"/>
                  </a:cubicBezTo>
                  <a:cubicBezTo>
                    <a:pt x="421625" y="0"/>
                    <a:pt x="502644" y="79898"/>
                    <a:pt x="502644" y="178460"/>
                  </a:cubicBezTo>
                  <a:cubicBezTo>
                    <a:pt x="502644" y="189900"/>
                    <a:pt x="501445" y="201042"/>
                    <a:pt x="499368" y="211885"/>
                  </a:cubicBezTo>
                  <a:cubicBezTo>
                    <a:pt x="557910" y="218290"/>
                    <a:pt x="603621" y="271094"/>
                    <a:pt x="603621" y="335412"/>
                  </a:cubicBezTo>
                  <a:cubicBezTo>
                    <a:pt x="603621" y="404049"/>
                    <a:pt x="551267" y="460279"/>
                    <a:pt x="487098" y="460279"/>
                  </a:cubicBezTo>
                  <a:cubicBezTo>
                    <a:pt x="472811" y="460279"/>
                    <a:pt x="154196" y="460279"/>
                    <a:pt x="154196" y="460279"/>
                  </a:cubicBezTo>
                  <a:cubicBezTo>
                    <a:pt x="69356" y="460264"/>
                    <a:pt x="0" y="388499"/>
                    <a:pt x="0" y="302389"/>
                  </a:cubicBezTo>
                  <a:cubicBezTo>
                    <a:pt x="0" y="221686"/>
                    <a:pt x="63153" y="155864"/>
                    <a:pt x="143322" y="149549"/>
                  </a:cubicBezTo>
                  <a:close/>
                </a:path>
              </a:pathLst>
            </a:custGeom>
            <a:solidFill>
              <a:srgbClr val="0078D4"/>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aphic 164">
              <a:extLst>
                <a:ext uri="{FF2B5EF4-FFF2-40B4-BE49-F238E27FC236}">
                  <a16:creationId xmlns:a16="http://schemas.microsoft.com/office/drawing/2014/main" id="{5F594932-F27B-4A45-840F-E1E9A4F937C5}"/>
                </a:ext>
              </a:extLst>
            </p:cNvPr>
            <p:cNvGrpSpPr/>
            <p:nvPr/>
          </p:nvGrpSpPr>
          <p:grpSpPr>
            <a:xfrm>
              <a:off x="5138426" y="3454648"/>
              <a:ext cx="621820" cy="446858"/>
              <a:chOff x="5138426" y="3454648"/>
              <a:chExt cx="621820" cy="446858"/>
            </a:xfrm>
          </p:grpSpPr>
          <p:grpSp>
            <p:nvGrpSpPr>
              <p:cNvPr id="169" name="Graphic 164">
                <a:extLst>
                  <a:ext uri="{FF2B5EF4-FFF2-40B4-BE49-F238E27FC236}">
                    <a16:creationId xmlns:a16="http://schemas.microsoft.com/office/drawing/2014/main" id="{5F594932-F27B-4A45-840F-E1E9A4F937C5}"/>
                  </a:ext>
                </a:extLst>
              </p:cNvPr>
              <p:cNvGrpSpPr/>
              <p:nvPr/>
            </p:nvGrpSpPr>
            <p:grpSpPr>
              <a:xfrm>
                <a:off x="5335588" y="3454648"/>
                <a:ext cx="227495" cy="134057"/>
                <a:chOff x="5335588" y="3454648"/>
                <a:chExt cx="227495" cy="134057"/>
              </a:xfrm>
            </p:grpSpPr>
            <p:sp>
              <p:nvSpPr>
                <p:cNvPr id="170" name="Freeform: Shape 169">
                  <a:extLst>
                    <a:ext uri="{FF2B5EF4-FFF2-40B4-BE49-F238E27FC236}">
                      <a16:creationId xmlns:a16="http://schemas.microsoft.com/office/drawing/2014/main" id="{93704080-1A96-4C8F-B29C-FAD4AE1A62A2}"/>
                    </a:ext>
                  </a:extLst>
                </p:cNvPr>
                <p:cNvSpPr/>
                <p:nvPr/>
              </p:nvSpPr>
              <p:spPr>
                <a:xfrm>
                  <a:off x="5350755"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295DAC75-A890-4F14-ADCC-6F071C8FB012}"/>
                    </a:ext>
                  </a:extLst>
                </p:cNvPr>
                <p:cNvSpPr/>
                <p:nvPr/>
              </p:nvSpPr>
              <p:spPr>
                <a:xfrm>
                  <a:off x="5335588"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2" name="Graphic 164">
                <a:extLst>
                  <a:ext uri="{FF2B5EF4-FFF2-40B4-BE49-F238E27FC236}">
                    <a16:creationId xmlns:a16="http://schemas.microsoft.com/office/drawing/2014/main" id="{5F594932-F27B-4A45-840F-E1E9A4F937C5}"/>
                  </a:ext>
                </a:extLst>
              </p:cNvPr>
              <p:cNvGrpSpPr/>
              <p:nvPr/>
            </p:nvGrpSpPr>
            <p:grpSpPr>
              <a:xfrm>
                <a:off x="5532751" y="3454648"/>
                <a:ext cx="227495" cy="134057"/>
                <a:chOff x="5532751" y="3454648"/>
                <a:chExt cx="227495" cy="134057"/>
              </a:xfrm>
            </p:grpSpPr>
            <p:sp>
              <p:nvSpPr>
                <p:cNvPr id="173" name="Freeform: Shape 172">
                  <a:extLst>
                    <a:ext uri="{FF2B5EF4-FFF2-40B4-BE49-F238E27FC236}">
                      <a16:creationId xmlns:a16="http://schemas.microsoft.com/office/drawing/2014/main" id="{6F265259-CCC5-44E9-9EA8-CA10B830AA6A}"/>
                    </a:ext>
                  </a:extLst>
                </p:cNvPr>
                <p:cNvSpPr/>
                <p:nvPr/>
              </p:nvSpPr>
              <p:spPr>
                <a:xfrm>
                  <a:off x="5547917"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73"/>
                        <a:pt x="6779" y="0"/>
                        <a:pt x="15166" y="0"/>
                      </a:cubicBezTo>
                      <a:lnTo>
                        <a:pt x="181996" y="0"/>
                      </a:lnTo>
                      <a:cubicBezTo>
                        <a:pt x="190383" y="0"/>
                        <a:pt x="197163" y="6673"/>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EB00AE-FA64-4361-AD5F-255031C8C603}"/>
                    </a:ext>
                  </a:extLst>
                </p:cNvPr>
                <p:cNvSpPr/>
                <p:nvPr/>
              </p:nvSpPr>
              <p:spPr>
                <a:xfrm>
                  <a:off x="5532751"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5" name="Graphic 164">
                <a:extLst>
                  <a:ext uri="{FF2B5EF4-FFF2-40B4-BE49-F238E27FC236}">
                    <a16:creationId xmlns:a16="http://schemas.microsoft.com/office/drawing/2014/main" id="{5F594932-F27B-4A45-840F-E1E9A4F937C5}"/>
                  </a:ext>
                </a:extLst>
              </p:cNvPr>
              <p:cNvGrpSpPr/>
              <p:nvPr/>
            </p:nvGrpSpPr>
            <p:grpSpPr>
              <a:xfrm>
                <a:off x="5138426" y="3454648"/>
                <a:ext cx="227495" cy="134057"/>
                <a:chOff x="5138426" y="3454648"/>
                <a:chExt cx="227495" cy="134057"/>
              </a:xfrm>
            </p:grpSpPr>
            <p:sp>
              <p:nvSpPr>
                <p:cNvPr id="176" name="Freeform: Shape 175">
                  <a:extLst>
                    <a:ext uri="{FF2B5EF4-FFF2-40B4-BE49-F238E27FC236}">
                      <a16:creationId xmlns:a16="http://schemas.microsoft.com/office/drawing/2014/main" id="{5AC755C0-7DCC-4CA5-A250-B97FBCC61759}"/>
                    </a:ext>
                  </a:extLst>
                </p:cNvPr>
                <p:cNvSpPr/>
                <p:nvPr/>
              </p:nvSpPr>
              <p:spPr>
                <a:xfrm>
                  <a:off x="5153592" y="3469543"/>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73"/>
                        <a:pt x="6795" y="0"/>
                        <a:pt x="15166" y="0"/>
                      </a:cubicBezTo>
                      <a:lnTo>
                        <a:pt x="181996" y="0"/>
                      </a:lnTo>
                      <a:cubicBezTo>
                        <a:pt x="190368" y="0"/>
                        <a:pt x="197163" y="6673"/>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D20F0458-B765-4BDB-9751-0928E281DEAE}"/>
                    </a:ext>
                  </a:extLst>
                </p:cNvPr>
                <p:cNvSpPr/>
                <p:nvPr/>
              </p:nvSpPr>
              <p:spPr>
                <a:xfrm>
                  <a:off x="5138426" y="3454648"/>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8" name="Graphic 164">
                <a:extLst>
                  <a:ext uri="{FF2B5EF4-FFF2-40B4-BE49-F238E27FC236}">
                    <a16:creationId xmlns:a16="http://schemas.microsoft.com/office/drawing/2014/main" id="{5F594932-F27B-4A45-840F-E1E9A4F937C5}"/>
                  </a:ext>
                </a:extLst>
              </p:cNvPr>
              <p:cNvGrpSpPr/>
              <p:nvPr/>
            </p:nvGrpSpPr>
            <p:grpSpPr>
              <a:xfrm>
                <a:off x="5335588" y="3558915"/>
                <a:ext cx="227495" cy="134057"/>
                <a:chOff x="5335588" y="3558915"/>
                <a:chExt cx="227495" cy="134057"/>
              </a:xfrm>
            </p:grpSpPr>
            <p:sp>
              <p:nvSpPr>
                <p:cNvPr id="179" name="Freeform: Shape 178">
                  <a:extLst>
                    <a:ext uri="{FF2B5EF4-FFF2-40B4-BE49-F238E27FC236}">
                      <a16:creationId xmlns:a16="http://schemas.microsoft.com/office/drawing/2014/main" id="{2B2CECE6-F622-41B5-95D5-75A6905492D6}"/>
                    </a:ext>
                  </a:extLst>
                </p:cNvPr>
                <p:cNvSpPr/>
                <p:nvPr/>
              </p:nvSpPr>
              <p:spPr>
                <a:xfrm>
                  <a:off x="5350755"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E0F8F0BA-7C99-4632-B76C-CA0F8038BD89}"/>
                    </a:ext>
                  </a:extLst>
                </p:cNvPr>
                <p:cNvSpPr/>
                <p:nvPr/>
              </p:nvSpPr>
              <p:spPr>
                <a:xfrm>
                  <a:off x="5335588"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1" name="Graphic 164">
                <a:extLst>
                  <a:ext uri="{FF2B5EF4-FFF2-40B4-BE49-F238E27FC236}">
                    <a16:creationId xmlns:a16="http://schemas.microsoft.com/office/drawing/2014/main" id="{5F594932-F27B-4A45-840F-E1E9A4F937C5}"/>
                  </a:ext>
                </a:extLst>
              </p:cNvPr>
              <p:cNvGrpSpPr/>
              <p:nvPr/>
            </p:nvGrpSpPr>
            <p:grpSpPr>
              <a:xfrm>
                <a:off x="5138426" y="3663182"/>
                <a:ext cx="227495" cy="134057"/>
                <a:chOff x="5138426" y="3663182"/>
                <a:chExt cx="227495" cy="134057"/>
              </a:xfrm>
            </p:grpSpPr>
            <p:sp>
              <p:nvSpPr>
                <p:cNvPr id="182" name="Freeform: Shape 181">
                  <a:extLst>
                    <a:ext uri="{FF2B5EF4-FFF2-40B4-BE49-F238E27FC236}">
                      <a16:creationId xmlns:a16="http://schemas.microsoft.com/office/drawing/2014/main" id="{0DD83910-AC06-4FC4-A4CC-662ED0A17277}"/>
                    </a:ext>
                  </a:extLst>
                </p:cNvPr>
                <p:cNvSpPr/>
                <p:nvPr/>
              </p:nvSpPr>
              <p:spPr>
                <a:xfrm>
                  <a:off x="5153592"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BD44C5A-6E66-444E-84BF-5F825CEE8A50}"/>
                    </a:ext>
                  </a:extLst>
                </p:cNvPr>
                <p:cNvSpPr/>
                <p:nvPr/>
              </p:nvSpPr>
              <p:spPr>
                <a:xfrm>
                  <a:off x="5138426"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aphic 164">
                <a:extLst>
                  <a:ext uri="{FF2B5EF4-FFF2-40B4-BE49-F238E27FC236}">
                    <a16:creationId xmlns:a16="http://schemas.microsoft.com/office/drawing/2014/main" id="{5F594932-F27B-4A45-840F-E1E9A4F937C5}"/>
                  </a:ext>
                </a:extLst>
              </p:cNvPr>
              <p:cNvGrpSpPr/>
              <p:nvPr/>
            </p:nvGrpSpPr>
            <p:grpSpPr>
              <a:xfrm>
                <a:off x="5138426" y="3558915"/>
                <a:ext cx="227495" cy="134057"/>
                <a:chOff x="5138426" y="3558915"/>
                <a:chExt cx="227495" cy="134057"/>
              </a:xfrm>
            </p:grpSpPr>
            <p:sp>
              <p:nvSpPr>
                <p:cNvPr id="185" name="Freeform: Shape 184">
                  <a:extLst>
                    <a:ext uri="{FF2B5EF4-FFF2-40B4-BE49-F238E27FC236}">
                      <a16:creationId xmlns:a16="http://schemas.microsoft.com/office/drawing/2014/main" id="{B525C61D-6CE2-48EF-9076-03986A9653FA}"/>
                    </a:ext>
                  </a:extLst>
                </p:cNvPr>
                <p:cNvSpPr/>
                <p:nvPr/>
              </p:nvSpPr>
              <p:spPr>
                <a:xfrm>
                  <a:off x="5153592"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FD8828DC-B7D4-4795-B675-DFCED47E3EF5}"/>
                    </a:ext>
                  </a:extLst>
                </p:cNvPr>
                <p:cNvSpPr/>
                <p:nvPr/>
              </p:nvSpPr>
              <p:spPr>
                <a:xfrm>
                  <a:off x="5138426"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7" name="Graphic 164">
                <a:extLst>
                  <a:ext uri="{FF2B5EF4-FFF2-40B4-BE49-F238E27FC236}">
                    <a16:creationId xmlns:a16="http://schemas.microsoft.com/office/drawing/2014/main" id="{5F594932-F27B-4A45-840F-E1E9A4F937C5}"/>
                  </a:ext>
                </a:extLst>
              </p:cNvPr>
              <p:cNvGrpSpPr/>
              <p:nvPr/>
            </p:nvGrpSpPr>
            <p:grpSpPr>
              <a:xfrm>
                <a:off x="5335588" y="3767449"/>
                <a:ext cx="227495" cy="134057"/>
                <a:chOff x="5335588" y="3767449"/>
                <a:chExt cx="227495" cy="134057"/>
              </a:xfrm>
            </p:grpSpPr>
            <p:sp>
              <p:nvSpPr>
                <p:cNvPr id="188" name="Freeform: Shape 187">
                  <a:extLst>
                    <a:ext uri="{FF2B5EF4-FFF2-40B4-BE49-F238E27FC236}">
                      <a16:creationId xmlns:a16="http://schemas.microsoft.com/office/drawing/2014/main" id="{F4377D6A-3845-4A8E-ACC2-C9A4C0DD1776}"/>
                    </a:ext>
                  </a:extLst>
                </p:cNvPr>
                <p:cNvSpPr/>
                <p:nvPr/>
              </p:nvSpPr>
              <p:spPr>
                <a:xfrm>
                  <a:off x="5350755"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15A41C7B-FD9C-4F94-BCBE-A73B065AE4F2}"/>
                    </a:ext>
                  </a:extLst>
                </p:cNvPr>
                <p:cNvSpPr/>
                <p:nvPr/>
              </p:nvSpPr>
              <p:spPr>
                <a:xfrm>
                  <a:off x="5335588"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0" name="Graphic 164">
                <a:extLst>
                  <a:ext uri="{FF2B5EF4-FFF2-40B4-BE49-F238E27FC236}">
                    <a16:creationId xmlns:a16="http://schemas.microsoft.com/office/drawing/2014/main" id="{5F594932-F27B-4A45-840F-E1E9A4F937C5}"/>
                  </a:ext>
                </a:extLst>
              </p:cNvPr>
              <p:cNvGrpSpPr/>
              <p:nvPr/>
            </p:nvGrpSpPr>
            <p:grpSpPr>
              <a:xfrm>
                <a:off x="5532751" y="3663182"/>
                <a:ext cx="227495" cy="134057"/>
                <a:chOff x="5532751" y="3663182"/>
                <a:chExt cx="227495" cy="134057"/>
              </a:xfrm>
            </p:grpSpPr>
            <p:sp>
              <p:nvSpPr>
                <p:cNvPr id="191" name="Freeform: Shape 190">
                  <a:extLst>
                    <a:ext uri="{FF2B5EF4-FFF2-40B4-BE49-F238E27FC236}">
                      <a16:creationId xmlns:a16="http://schemas.microsoft.com/office/drawing/2014/main" id="{DFD2627A-0D3E-4017-B51E-4C514AA01467}"/>
                    </a:ext>
                  </a:extLst>
                </p:cNvPr>
                <p:cNvSpPr/>
                <p:nvPr/>
              </p:nvSpPr>
              <p:spPr>
                <a:xfrm>
                  <a:off x="5547917"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395C64FB-A615-4F72-8969-9883EC711C9A}"/>
                    </a:ext>
                  </a:extLst>
                </p:cNvPr>
                <p:cNvSpPr/>
                <p:nvPr/>
              </p:nvSpPr>
              <p:spPr>
                <a:xfrm>
                  <a:off x="5532751"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3" name="Graphic 164">
                <a:extLst>
                  <a:ext uri="{FF2B5EF4-FFF2-40B4-BE49-F238E27FC236}">
                    <a16:creationId xmlns:a16="http://schemas.microsoft.com/office/drawing/2014/main" id="{5F594932-F27B-4A45-840F-E1E9A4F937C5}"/>
                  </a:ext>
                </a:extLst>
              </p:cNvPr>
              <p:cNvGrpSpPr/>
              <p:nvPr/>
            </p:nvGrpSpPr>
            <p:grpSpPr>
              <a:xfrm>
                <a:off x="5532751" y="3558915"/>
                <a:ext cx="227495" cy="134057"/>
                <a:chOff x="5532751" y="3558915"/>
                <a:chExt cx="227495" cy="134057"/>
              </a:xfrm>
            </p:grpSpPr>
            <p:sp>
              <p:nvSpPr>
                <p:cNvPr id="194" name="Freeform: Shape 193">
                  <a:extLst>
                    <a:ext uri="{FF2B5EF4-FFF2-40B4-BE49-F238E27FC236}">
                      <a16:creationId xmlns:a16="http://schemas.microsoft.com/office/drawing/2014/main" id="{757EBF2D-527D-45A2-BA01-87F800491C0B}"/>
                    </a:ext>
                  </a:extLst>
                </p:cNvPr>
                <p:cNvSpPr/>
                <p:nvPr/>
              </p:nvSpPr>
              <p:spPr>
                <a:xfrm>
                  <a:off x="5547917" y="3573810"/>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6C2303FB-0CC5-4622-AA11-08420E713235}"/>
                    </a:ext>
                  </a:extLst>
                </p:cNvPr>
                <p:cNvSpPr/>
                <p:nvPr/>
              </p:nvSpPr>
              <p:spPr>
                <a:xfrm>
                  <a:off x="5532751" y="3558915"/>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aphic 164">
                <a:extLst>
                  <a:ext uri="{FF2B5EF4-FFF2-40B4-BE49-F238E27FC236}">
                    <a16:creationId xmlns:a16="http://schemas.microsoft.com/office/drawing/2014/main" id="{5F594932-F27B-4A45-840F-E1E9A4F937C5}"/>
                  </a:ext>
                </a:extLst>
              </p:cNvPr>
              <p:cNvGrpSpPr/>
              <p:nvPr/>
            </p:nvGrpSpPr>
            <p:grpSpPr>
              <a:xfrm>
                <a:off x="5335588" y="3663182"/>
                <a:ext cx="227495" cy="134057"/>
                <a:chOff x="5335588" y="3663182"/>
                <a:chExt cx="227495" cy="134057"/>
              </a:xfrm>
            </p:grpSpPr>
            <p:sp>
              <p:nvSpPr>
                <p:cNvPr id="197" name="Freeform: Shape 196">
                  <a:extLst>
                    <a:ext uri="{FF2B5EF4-FFF2-40B4-BE49-F238E27FC236}">
                      <a16:creationId xmlns:a16="http://schemas.microsoft.com/office/drawing/2014/main" id="{F93F5A9B-0874-47FA-B570-743FCAF5FF34}"/>
                    </a:ext>
                  </a:extLst>
                </p:cNvPr>
                <p:cNvSpPr/>
                <p:nvPr/>
              </p:nvSpPr>
              <p:spPr>
                <a:xfrm>
                  <a:off x="5350755" y="3678077"/>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B0B9F76-FF56-48E9-A9A4-A219AEC07564}"/>
                    </a:ext>
                  </a:extLst>
                </p:cNvPr>
                <p:cNvSpPr/>
                <p:nvPr/>
              </p:nvSpPr>
              <p:spPr>
                <a:xfrm>
                  <a:off x="5335588" y="3663182"/>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9" name="Graphic 164">
                <a:extLst>
                  <a:ext uri="{FF2B5EF4-FFF2-40B4-BE49-F238E27FC236}">
                    <a16:creationId xmlns:a16="http://schemas.microsoft.com/office/drawing/2014/main" id="{5F594932-F27B-4A45-840F-E1E9A4F937C5}"/>
                  </a:ext>
                </a:extLst>
              </p:cNvPr>
              <p:cNvGrpSpPr/>
              <p:nvPr/>
            </p:nvGrpSpPr>
            <p:grpSpPr>
              <a:xfrm>
                <a:off x="5532751" y="3767449"/>
                <a:ext cx="227495" cy="134057"/>
                <a:chOff x="5532751" y="3767449"/>
                <a:chExt cx="227495" cy="134057"/>
              </a:xfrm>
            </p:grpSpPr>
            <p:sp>
              <p:nvSpPr>
                <p:cNvPr id="200" name="Freeform: Shape 199">
                  <a:extLst>
                    <a:ext uri="{FF2B5EF4-FFF2-40B4-BE49-F238E27FC236}">
                      <a16:creationId xmlns:a16="http://schemas.microsoft.com/office/drawing/2014/main" id="{EEA50BC4-3F2B-48B8-8428-C7B0A2B8F7AF}"/>
                    </a:ext>
                  </a:extLst>
                </p:cNvPr>
                <p:cNvSpPr/>
                <p:nvPr/>
              </p:nvSpPr>
              <p:spPr>
                <a:xfrm>
                  <a:off x="5547917"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79" y="104267"/>
                        <a:pt x="0" y="97609"/>
                        <a:pt x="0" y="89372"/>
                      </a:cubicBezTo>
                      <a:lnTo>
                        <a:pt x="0" y="14895"/>
                      </a:lnTo>
                      <a:cubicBezTo>
                        <a:pt x="0" y="6658"/>
                        <a:pt x="6779" y="0"/>
                        <a:pt x="15166" y="0"/>
                      </a:cubicBezTo>
                      <a:lnTo>
                        <a:pt x="181996" y="0"/>
                      </a:lnTo>
                      <a:cubicBezTo>
                        <a:pt x="190383" y="0"/>
                        <a:pt x="197163" y="6658"/>
                        <a:pt x="197163" y="14895"/>
                      </a:cubicBezTo>
                      <a:lnTo>
                        <a:pt x="197163" y="89372"/>
                      </a:lnTo>
                      <a:cubicBezTo>
                        <a:pt x="197163" y="97609"/>
                        <a:pt x="190383" y="104267"/>
                        <a:pt x="181996" y="104267"/>
                      </a:cubicBezTo>
                      <a:lnTo>
                        <a:pt x="15166" y="104267"/>
                      </a:lnTo>
                      <a:close/>
                    </a:path>
                  </a:pathLst>
                </a:custGeom>
                <a:solidFill>
                  <a:srgbClr val="DD5900"/>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9123B04-A1D5-4322-9964-F7D1D49A6E0D}"/>
                    </a:ext>
                  </a:extLst>
                </p:cNvPr>
                <p:cNvSpPr/>
                <p:nvPr/>
              </p:nvSpPr>
              <p:spPr>
                <a:xfrm>
                  <a:off x="5532751"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2" name="Graphic 164">
                <a:extLst>
                  <a:ext uri="{FF2B5EF4-FFF2-40B4-BE49-F238E27FC236}">
                    <a16:creationId xmlns:a16="http://schemas.microsoft.com/office/drawing/2014/main" id="{5F594932-F27B-4A45-840F-E1E9A4F937C5}"/>
                  </a:ext>
                </a:extLst>
              </p:cNvPr>
              <p:cNvGrpSpPr/>
              <p:nvPr/>
            </p:nvGrpSpPr>
            <p:grpSpPr>
              <a:xfrm>
                <a:off x="5138426" y="3767449"/>
                <a:ext cx="227495" cy="134057"/>
                <a:chOff x="5138426" y="3767449"/>
                <a:chExt cx="227495" cy="134057"/>
              </a:xfrm>
            </p:grpSpPr>
            <p:sp>
              <p:nvSpPr>
                <p:cNvPr id="203" name="Freeform: Shape 202">
                  <a:extLst>
                    <a:ext uri="{FF2B5EF4-FFF2-40B4-BE49-F238E27FC236}">
                      <a16:creationId xmlns:a16="http://schemas.microsoft.com/office/drawing/2014/main" id="{C1054F11-39D5-470E-988F-C73EF0221847}"/>
                    </a:ext>
                  </a:extLst>
                </p:cNvPr>
                <p:cNvSpPr/>
                <p:nvPr/>
              </p:nvSpPr>
              <p:spPr>
                <a:xfrm>
                  <a:off x="5153592" y="3782344"/>
                  <a:ext cx="197162" cy="104266"/>
                </a:xfrm>
                <a:custGeom>
                  <a:avLst/>
                  <a:gdLst>
                    <a:gd name="connsiteX0" fmla="*/ 15166 w 197162"/>
                    <a:gd name="connsiteY0" fmla="*/ 104267 h 104266"/>
                    <a:gd name="connsiteX1" fmla="*/ 0 w 197162"/>
                    <a:gd name="connsiteY1" fmla="*/ 89372 h 104266"/>
                    <a:gd name="connsiteX2" fmla="*/ 0 w 197162"/>
                    <a:gd name="connsiteY2" fmla="*/ 14895 h 104266"/>
                    <a:gd name="connsiteX3" fmla="*/ 15166 w 197162"/>
                    <a:gd name="connsiteY3" fmla="*/ 0 h 104266"/>
                    <a:gd name="connsiteX4" fmla="*/ 181996 w 197162"/>
                    <a:gd name="connsiteY4" fmla="*/ 0 h 104266"/>
                    <a:gd name="connsiteX5" fmla="*/ 197163 w 197162"/>
                    <a:gd name="connsiteY5" fmla="*/ 14895 h 104266"/>
                    <a:gd name="connsiteX6" fmla="*/ 197163 w 197162"/>
                    <a:gd name="connsiteY6" fmla="*/ 89372 h 104266"/>
                    <a:gd name="connsiteX7" fmla="*/ 181996 w 197162"/>
                    <a:gd name="connsiteY7" fmla="*/ 104267 h 104266"/>
                    <a:gd name="connsiteX8" fmla="*/ 15166 w 197162"/>
                    <a:gd name="connsiteY8" fmla="*/ 104267 h 10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162" h="104266">
                      <a:moveTo>
                        <a:pt x="15166" y="104267"/>
                      </a:moveTo>
                      <a:cubicBezTo>
                        <a:pt x="6795" y="104267"/>
                        <a:pt x="0" y="97609"/>
                        <a:pt x="0" y="89372"/>
                      </a:cubicBezTo>
                      <a:lnTo>
                        <a:pt x="0" y="14895"/>
                      </a:lnTo>
                      <a:cubicBezTo>
                        <a:pt x="0" y="6658"/>
                        <a:pt x="6795" y="0"/>
                        <a:pt x="15166" y="0"/>
                      </a:cubicBezTo>
                      <a:lnTo>
                        <a:pt x="181996" y="0"/>
                      </a:lnTo>
                      <a:cubicBezTo>
                        <a:pt x="190368" y="0"/>
                        <a:pt x="197163" y="6658"/>
                        <a:pt x="197163" y="14895"/>
                      </a:cubicBezTo>
                      <a:lnTo>
                        <a:pt x="197163" y="89372"/>
                      </a:lnTo>
                      <a:cubicBezTo>
                        <a:pt x="197163" y="97609"/>
                        <a:pt x="190368" y="104267"/>
                        <a:pt x="181996" y="104267"/>
                      </a:cubicBezTo>
                      <a:lnTo>
                        <a:pt x="15166" y="104267"/>
                      </a:lnTo>
                      <a:close/>
                    </a:path>
                  </a:pathLst>
                </a:custGeom>
                <a:solidFill>
                  <a:srgbClr val="BA141A"/>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D40D333-7BF7-4AE4-A02A-B981E0C835F4}"/>
                    </a:ext>
                  </a:extLst>
                </p:cNvPr>
                <p:cNvSpPr/>
                <p:nvPr/>
              </p:nvSpPr>
              <p:spPr>
                <a:xfrm>
                  <a:off x="5138426" y="3767449"/>
                  <a:ext cx="227495" cy="134057"/>
                </a:xfrm>
                <a:custGeom>
                  <a:avLst/>
                  <a:gdLst>
                    <a:gd name="connsiteX0" fmla="*/ 197163 w 227495"/>
                    <a:gd name="connsiteY0" fmla="*/ 29791 h 134057"/>
                    <a:gd name="connsiteX1" fmla="*/ 197163 w 227495"/>
                    <a:gd name="connsiteY1" fmla="*/ 104267 h 134057"/>
                    <a:gd name="connsiteX2" fmla="*/ 30333 w 227495"/>
                    <a:gd name="connsiteY2" fmla="*/ 104267 h 134057"/>
                    <a:gd name="connsiteX3" fmla="*/ 30333 w 227495"/>
                    <a:gd name="connsiteY3" fmla="*/ 29791 h 134057"/>
                    <a:gd name="connsiteX4" fmla="*/ 197163 w 227495"/>
                    <a:gd name="connsiteY4" fmla="*/ 29791 h 134057"/>
                    <a:gd name="connsiteX5" fmla="*/ 197163 w 227495"/>
                    <a:gd name="connsiteY5" fmla="*/ 0 h 134057"/>
                    <a:gd name="connsiteX6" fmla="*/ 30333 w 227495"/>
                    <a:gd name="connsiteY6" fmla="*/ 0 h 134057"/>
                    <a:gd name="connsiteX7" fmla="*/ 0 w 227495"/>
                    <a:gd name="connsiteY7" fmla="*/ 29791 h 134057"/>
                    <a:gd name="connsiteX8" fmla="*/ 0 w 227495"/>
                    <a:gd name="connsiteY8" fmla="*/ 104267 h 134057"/>
                    <a:gd name="connsiteX9" fmla="*/ 30333 w 227495"/>
                    <a:gd name="connsiteY9" fmla="*/ 134058 h 134057"/>
                    <a:gd name="connsiteX10" fmla="*/ 197163 w 227495"/>
                    <a:gd name="connsiteY10" fmla="*/ 134058 h 134057"/>
                    <a:gd name="connsiteX11" fmla="*/ 227495 w 227495"/>
                    <a:gd name="connsiteY11" fmla="*/ 104267 h 134057"/>
                    <a:gd name="connsiteX12" fmla="*/ 227495 w 227495"/>
                    <a:gd name="connsiteY12" fmla="*/ 29791 h 134057"/>
                    <a:gd name="connsiteX13" fmla="*/ 197163 w 227495"/>
                    <a:gd name="connsiteY13" fmla="*/ 0 h 134057"/>
                    <a:gd name="connsiteX14" fmla="*/ 197163 w 227495"/>
                    <a:gd name="connsiteY14" fmla="*/ 0 h 13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495" h="134057">
                      <a:moveTo>
                        <a:pt x="197163" y="29791"/>
                      </a:moveTo>
                      <a:lnTo>
                        <a:pt x="197163" y="104267"/>
                      </a:lnTo>
                      <a:lnTo>
                        <a:pt x="30333" y="104267"/>
                      </a:lnTo>
                      <a:lnTo>
                        <a:pt x="30333" y="29791"/>
                      </a:lnTo>
                      <a:lnTo>
                        <a:pt x="197163" y="29791"/>
                      </a:lnTo>
                      <a:moveTo>
                        <a:pt x="197163" y="0"/>
                      </a:moveTo>
                      <a:lnTo>
                        <a:pt x="30333" y="0"/>
                      </a:lnTo>
                      <a:cubicBezTo>
                        <a:pt x="13574" y="0"/>
                        <a:pt x="0" y="13331"/>
                        <a:pt x="0" y="29791"/>
                      </a:cubicBezTo>
                      <a:lnTo>
                        <a:pt x="0" y="104267"/>
                      </a:lnTo>
                      <a:cubicBezTo>
                        <a:pt x="0" y="120726"/>
                        <a:pt x="13574" y="134058"/>
                        <a:pt x="30333" y="134058"/>
                      </a:cubicBezTo>
                      <a:lnTo>
                        <a:pt x="197163" y="134058"/>
                      </a:lnTo>
                      <a:cubicBezTo>
                        <a:pt x="213922" y="134058"/>
                        <a:pt x="227495" y="120726"/>
                        <a:pt x="227495" y="104267"/>
                      </a:cubicBezTo>
                      <a:lnTo>
                        <a:pt x="227495" y="29791"/>
                      </a:lnTo>
                      <a:cubicBezTo>
                        <a:pt x="227495" y="13331"/>
                        <a:pt x="213922" y="0"/>
                        <a:pt x="197163" y="0"/>
                      </a:cubicBezTo>
                      <a:lnTo>
                        <a:pt x="197163" y="0"/>
                      </a:lnTo>
                      <a:close/>
                    </a:path>
                  </a:pathLst>
                </a:custGeom>
                <a:solidFill>
                  <a:srgbClr val="A0A1A2"/>
                </a:solidFill>
                <a:ln w="15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7" name="TextBox 6">
            <a:extLst>
              <a:ext uri="{FF2B5EF4-FFF2-40B4-BE49-F238E27FC236}">
                <a16:creationId xmlns:a16="http://schemas.microsoft.com/office/drawing/2014/main" id="{CF1CDBDF-2A22-4215-A891-5CC4C180AD9B}"/>
              </a:ext>
            </a:extLst>
          </p:cNvPr>
          <p:cNvSpPr txBox="1"/>
          <p:nvPr/>
        </p:nvSpPr>
        <p:spPr>
          <a:xfrm>
            <a:off x="9089089"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8" name="Text Placeholder 87">
            <a:extLst>
              <a:ext uri="{FF2B5EF4-FFF2-40B4-BE49-F238E27FC236}">
                <a16:creationId xmlns:a16="http://schemas.microsoft.com/office/drawing/2014/main" id="{0F4FBE64-0E64-46D5-83E3-9806343BA74F}"/>
              </a:ext>
            </a:extLst>
          </p:cNvPr>
          <p:cNvSpPr txBox="1">
            <a:spLocks/>
          </p:cNvSpPr>
          <p:nvPr/>
        </p:nvSpPr>
        <p:spPr>
          <a:xfrm>
            <a:off x="9471015" y="5357122"/>
            <a:ext cx="2418034"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Firewall  &amp; DDoS</a:t>
            </a:r>
          </a:p>
        </p:txBody>
      </p:sp>
      <p:sp>
        <p:nvSpPr>
          <p:cNvPr id="9" name="TextBox 8">
            <a:extLst>
              <a:ext uri="{FF2B5EF4-FFF2-40B4-BE49-F238E27FC236}">
                <a16:creationId xmlns:a16="http://schemas.microsoft.com/office/drawing/2014/main" id="{A45EFA1C-45C0-4576-88FA-CE3FE11E7B43}"/>
              </a:ext>
            </a:extLst>
          </p:cNvPr>
          <p:cNvSpPr txBox="1"/>
          <p:nvPr/>
        </p:nvSpPr>
        <p:spPr>
          <a:xfrm>
            <a:off x="1942545" y="5222375"/>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
        <p:nvSpPr>
          <p:cNvPr id="10" name="Text Placeholder 95">
            <a:extLst>
              <a:ext uri="{FF2B5EF4-FFF2-40B4-BE49-F238E27FC236}">
                <a16:creationId xmlns:a16="http://schemas.microsoft.com/office/drawing/2014/main" id="{8BE2AF3F-89CA-49A1-8335-BFB8EDAB3335}"/>
              </a:ext>
            </a:extLst>
          </p:cNvPr>
          <p:cNvSpPr txBox="1">
            <a:spLocks/>
          </p:cNvSpPr>
          <p:nvPr/>
        </p:nvSpPr>
        <p:spPr>
          <a:xfrm>
            <a:off x="2264194" y="5367204"/>
            <a:ext cx="2261645" cy="276999"/>
          </a:xfrm>
          <a:prstGeom prst="rect">
            <a:avLst/>
          </a:prstGeom>
        </p:spPr>
        <p:txBody>
          <a:bodyPr vert="horz" wrap="none" lIns="0" tIns="0" rIns="0" bIns="0" rtlCol="0">
            <a:spAutoFit/>
          </a:bodyPr>
          <a:lstStyle>
            <a:lvl1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chemeClr val="tx2"/>
                </a:solidFill>
                <a:latin typeface="+mn-lt"/>
                <a:ea typeface="+mn-ea"/>
                <a:cs typeface="+mn-cs"/>
              </a:defRPr>
            </a:lvl1pPr>
            <a:lvl2pPr marL="0" marR="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b="1" kern="1200" spc="0" baseline="0">
                <a:solidFill>
                  <a:srgbClr val="000000"/>
                </a:solidFill>
                <a:latin typeface="+mn-lt"/>
                <a:ea typeface="+mn-ea"/>
                <a:cs typeface="+mn-cs"/>
              </a:defRPr>
            </a:lvl2pPr>
            <a:lvl3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765" kern="1200" spc="0" baseline="0">
                <a:solidFill>
                  <a:srgbClr val="000000"/>
                </a:solidFill>
                <a:latin typeface="+mn-lt"/>
                <a:ea typeface="+mn-ea"/>
                <a:cs typeface="+mn-cs"/>
              </a:defRPr>
            </a:lvl3pPr>
            <a:lvl4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370"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curity Center</a:t>
            </a:r>
          </a:p>
        </p:txBody>
      </p:sp>
      <p:sp>
        <p:nvSpPr>
          <p:cNvPr id="205" name="TextBox 204">
            <a:extLst>
              <a:ext uri="{FF2B5EF4-FFF2-40B4-BE49-F238E27FC236}">
                <a16:creationId xmlns:a16="http://schemas.microsoft.com/office/drawing/2014/main" id="{A125F215-082A-4A73-B31D-86EB1A40C078}"/>
              </a:ext>
            </a:extLst>
          </p:cNvPr>
          <p:cNvSpPr txBox="1"/>
          <p:nvPr/>
        </p:nvSpPr>
        <p:spPr>
          <a:xfrm>
            <a:off x="464709" y="5367204"/>
            <a:ext cx="1514389" cy="276999"/>
          </a:xfrm>
          <a:prstGeom prst="rect">
            <a:avLst/>
          </a:prstGeom>
        </p:spPr>
        <p:txBody>
          <a:bodyPr vert="horz" wrap="none" lIns="0" tIns="0" rIns="0" bIns="0" rtlCol="0">
            <a:spAutoFit/>
          </a:bodyPr>
          <a:lstStyle>
            <a:defPPr>
              <a:defRPr lang="en-US"/>
            </a:defPPr>
            <a:lvl1pPr marR="0" lvl="0" indent="0" algn="ctr" defTabSz="914016" fontAlgn="auto">
              <a:lnSpc>
                <a:spcPct val="100000"/>
              </a:lnSpc>
              <a:spcBef>
                <a:spcPts val="0"/>
              </a:spcBef>
              <a:spcAft>
                <a:spcPts val="0"/>
              </a:spcAft>
              <a:buClrTx/>
              <a:buSzPct val="90000"/>
              <a:buFont typeface="Wingdings" panose="05000000000000000000" pitchFamily="2" charset="2"/>
              <a:buNone/>
              <a:tabLst/>
              <a:defRPr kumimoji="0" sz="1400" b="0" i="0" u="none" strike="noStrike" cap="none" spc="0" normalizeH="0" baseline="0">
                <a:ln>
                  <a:noFill/>
                </a:ln>
                <a:effectLst/>
                <a:uLnTx/>
                <a:uFillTx/>
                <a:latin typeface="Segoe UI Semibold"/>
                <a:cs typeface="Segoe UI Semilight" panose="020B0402040204020203" pitchFamily="34" charset="0"/>
              </a:defRPr>
            </a:lvl1pPr>
            <a:lvl2pPr marL="0" marR="0" indent="0" algn="ctr" defTabSz="914016" fontAlgn="auto">
              <a:lnSpc>
                <a:spcPct val="100000"/>
              </a:lnSpc>
              <a:spcBef>
                <a:spcPts val="0"/>
              </a:spcBef>
              <a:spcAft>
                <a:spcPts val="0"/>
              </a:spcAft>
              <a:buClrTx/>
              <a:buSzPct val="90000"/>
              <a:buFont typeface="Wingdings" panose="05000000000000000000" pitchFamily="2" charset="2"/>
              <a:buNone/>
              <a:tabLst/>
              <a:defRPr sz="1765" b="1" spc="0" baseline="0">
                <a:solidFill>
                  <a:srgbClr val="000000"/>
                </a:solidFill>
              </a:defRPr>
            </a:lvl2pPr>
            <a:lvl3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765" spc="0" baseline="0">
                <a:solidFill>
                  <a:srgbClr val="000000"/>
                </a:solidFill>
              </a:defRPr>
            </a:lvl3pPr>
            <a:lvl4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4pPr>
            <a:lvl5pPr marL="0" marR="0" indent="0" algn="ctr" defTabSz="914016" fontAlgn="auto">
              <a:lnSpc>
                <a:spcPct val="100000"/>
              </a:lnSpc>
              <a:spcBef>
                <a:spcPts val="0"/>
              </a:spcBef>
              <a:spcAft>
                <a:spcPts val="1370"/>
              </a:spcAft>
              <a:buClrTx/>
              <a:buSzPct val="90000"/>
              <a:buFont typeface="Wingdings" panose="05000000000000000000" pitchFamily="2" charset="2"/>
              <a:buNone/>
              <a:tabLst/>
              <a:defRPr sz="1370" spc="0" baseline="0">
                <a:solidFill>
                  <a:srgbClr val="000000"/>
                </a:solidFill>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0" marR="0" lvl="0" indent="0" algn="ct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Azure Sentinel</a:t>
            </a:r>
          </a:p>
        </p:txBody>
      </p:sp>
      <p:grpSp>
        <p:nvGrpSpPr>
          <p:cNvPr id="210" name="Graphic 39" descr="decentralized identity">
            <a:extLst>
              <a:ext uri="{FF2B5EF4-FFF2-40B4-BE49-F238E27FC236}">
                <a16:creationId xmlns:a16="http://schemas.microsoft.com/office/drawing/2014/main" id="{34948197-2C20-4691-85AD-033BF0AC12CA}"/>
              </a:ext>
            </a:extLst>
          </p:cNvPr>
          <p:cNvGrpSpPr/>
          <p:nvPr/>
        </p:nvGrpSpPr>
        <p:grpSpPr>
          <a:xfrm>
            <a:off x="1312240" y="2138926"/>
            <a:ext cx="593351" cy="593351"/>
            <a:chOff x="7273120" y="3025683"/>
            <a:chExt cx="461180" cy="461180"/>
          </a:xfrm>
        </p:grpSpPr>
        <p:sp>
          <p:nvSpPr>
            <p:cNvPr id="211" name="Freeform: Shape 210">
              <a:extLst>
                <a:ext uri="{FF2B5EF4-FFF2-40B4-BE49-F238E27FC236}">
                  <a16:creationId xmlns:a16="http://schemas.microsoft.com/office/drawing/2014/main" id="{99B2260D-6AD8-4C5C-BF51-445C8AB0EDF6}"/>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00293EC8-07E7-4351-9AC2-6E074C59012F}"/>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BDB374D1-2382-4ACE-B042-B1827953DB1F}"/>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1CB819A3-246E-4803-97E6-F52DEF3866E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B2E661B8-C3EC-4B08-B37A-CF5C11867C68}"/>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EDA5432B-363B-4C2D-ABC2-F405302886A6}"/>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50D2231B-B807-4EA3-8D2B-8CC335CCFB2B}"/>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53872F3-A634-428B-B342-C412BC2D27D0}"/>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ED25728B-8F0B-4982-ABBC-A3A20D95B3DD}"/>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265FABC0-F5C8-4319-B987-032AD2A46F62}"/>
              </a:ext>
              <a:ext uri="{C183D7F6-B498-43B3-948B-1728B52AA6E4}">
                <adec:decorative xmlns:adec="http://schemas.microsoft.com/office/drawing/2017/decorative" xmlns="" val="1"/>
              </a:ext>
            </a:extLst>
          </p:cNvPr>
          <p:cNvGrpSpPr/>
          <p:nvPr/>
        </p:nvGrpSpPr>
        <p:grpSpPr>
          <a:xfrm>
            <a:off x="8186201" y="2159740"/>
            <a:ext cx="574497" cy="541096"/>
            <a:chOff x="3070225" y="2527300"/>
            <a:chExt cx="682625" cy="642938"/>
          </a:xfrm>
        </p:grpSpPr>
        <p:sp>
          <p:nvSpPr>
            <p:cNvPr id="116" name="AutoShape 3">
              <a:extLst>
                <a:ext uri="{FF2B5EF4-FFF2-40B4-BE49-F238E27FC236}">
                  <a16:creationId xmlns:a16="http://schemas.microsoft.com/office/drawing/2014/main" id="{12F5232B-A857-444C-999B-4F80C55AEDF7}"/>
                </a:ext>
              </a:extLst>
            </p:cNvPr>
            <p:cNvSpPr>
              <a:spLocks noChangeAspect="1" noChangeArrowheads="1" noTextEdit="1"/>
            </p:cNvSpPr>
            <p:nvPr/>
          </p:nvSpPr>
          <p:spPr bwMode="auto">
            <a:xfrm>
              <a:off x="3070225" y="2527300"/>
              <a:ext cx="6778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5">
              <a:extLst>
                <a:ext uri="{FF2B5EF4-FFF2-40B4-BE49-F238E27FC236}">
                  <a16:creationId xmlns:a16="http://schemas.microsoft.com/office/drawing/2014/main" id="{9A7CED8D-A4CF-408B-BBB7-9E593EC6CA2B}"/>
                </a:ext>
              </a:extLst>
            </p:cNvPr>
            <p:cNvSpPr>
              <a:spLocks noChangeArrowheads="1"/>
            </p:cNvSpPr>
            <p:nvPr/>
          </p:nvSpPr>
          <p:spPr bwMode="auto">
            <a:xfrm>
              <a:off x="3109913" y="2566988"/>
              <a:ext cx="595313" cy="4254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12F85468-8A42-4EF7-B530-9003040AA16C}"/>
                </a:ext>
              </a:extLst>
            </p:cNvPr>
            <p:cNvSpPr>
              <a:spLocks/>
            </p:cNvSpPr>
            <p:nvPr/>
          </p:nvSpPr>
          <p:spPr bwMode="auto">
            <a:xfrm>
              <a:off x="3184525" y="3035300"/>
              <a:ext cx="449263" cy="130175"/>
            </a:xfrm>
            <a:custGeom>
              <a:avLst/>
              <a:gdLst>
                <a:gd name="T0" fmla="*/ 82 w 113"/>
                <a:gd name="T1" fmla="*/ 0 h 33"/>
                <a:gd name="T2" fmla="*/ 78 w 113"/>
                <a:gd name="T3" fmla="*/ 0 h 33"/>
                <a:gd name="T4" fmla="*/ 38 w 113"/>
                <a:gd name="T5" fmla="*/ 0 h 33"/>
                <a:gd name="T6" fmla="*/ 35 w 113"/>
                <a:gd name="T7" fmla="*/ 0 h 33"/>
                <a:gd name="T8" fmla="*/ 0 w 113"/>
                <a:gd name="T9" fmla="*/ 22 h 33"/>
                <a:gd name="T10" fmla="*/ 0 w 113"/>
                <a:gd name="T11" fmla="*/ 33 h 33"/>
                <a:gd name="T12" fmla="*/ 42 w 113"/>
                <a:gd name="T13" fmla="*/ 33 h 33"/>
                <a:gd name="T14" fmla="*/ 73 w 113"/>
                <a:gd name="T15" fmla="*/ 33 h 33"/>
                <a:gd name="T16" fmla="*/ 113 w 113"/>
                <a:gd name="T17" fmla="*/ 33 h 33"/>
                <a:gd name="T18" fmla="*/ 113 w 113"/>
                <a:gd name="T19" fmla="*/ 22 h 33"/>
                <a:gd name="T20" fmla="*/ 82 w 113"/>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3">
                  <a:moveTo>
                    <a:pt x="82" y="0"/>
                  </a:moveTo>
                  <a:cubicBezTo>
                    <a:pt x="78" y="0"/>
                    <a:pt x="78" y="0"/>
                    <a:pt x="78" y="0"/>
                  </a:cubicBezTo>
                  <a:cubicBezTo>
                    <a:pt x="38" y="0"/>
                    <a:pt x="38" y="0"/>
                    <a:pt x="38" y="0"/>
                  </a:cubicBezTo>
                  <a:cubicBezTo>
                    <a:pt x="35" y="0"/>
                    <a:pt x="35" y="0"/>
                    <a:pt x="35" y="0"/>
                  </a:cubicBezTo>
                  <a:cubicBezTo>
                    <a:pt x="41" y="20"/>
                    <a:pt x="33" y="22"/>
                    <a:pt x="0" y="22"/>
                  </a:cubicBezTo>
                  <a:cubicBezTo>
                    <a:pt x="0" y="33"/>
                    <a:pt x="0" y="33"/>
                    <a:pt x="0" y="33"/>
                  </a:cubicBezTo>
                  <a:cubicBezTo>
                    <a:pt x="42" y="33"/>
                    <a:pt x="42" y="33"/>
                    <a:pt x="42" y="33"/>
                  </a:cubicBezTo>
                  <a:cubicBezTo>
                    <a:pt x="73" y="33"/>
                    <a:pt x="73" y="33"/>
                    <a:pt x="73" y="33"/>
                  </a:cubicBezTo>
                  <a:cubicBezTo>
                    <a:pt x="113" y="33"/>
                    <a:pt x="113" y="33"/>
                    <a:pt x="113" y="33"/>
                  </a:cubicBezTo>
                  <a:cubicBezTo>
                    <a:pt x="113" y="22"/>
                    <a:pt x="113" y="22"/>
                    <a:pt x="113" y="22"/>
                  </a:cubicBezTo>
                  <a:cubicBezTo>
                    <a:pt x="80" y="22"/>
                    <a:pt x="77" y="20"/>
                    <a:pt x="8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00E23345-A47C-4093-A05A-9567581BDC97}"/>
                </a:ext>
              </a:extLst>
            </p:cNvPr>
            <p:cNvSpPr>
              <a:spLocks/>
            </p:cNvSpPr>
            <p:nvPr/>
          </p:nvSpPr>
          <p:spPr bwMode="auto">
            <a:xfrm>
              <a:off x="3081338" y="2532063"/>
              <a:ext cx="627063" cy="7938"/>
            </a:xfrm>
            <a:custGeom>
              <a:avLst/>
              <a:gdLst>
                <a:gd name="T0" fmla="*/ 158 w 158"/>
                <a:gd name="T1" fmla="*/ 0 h 2"/>
                <a:gd name="T2" fmla="*/ 158 w 158"/>
                <a:gd name="T3" fmla="*/ 0 h 2"/>
                <a:gd name="T4" fmla="*/ 158 w 158"/>
                <a:gd name="T5" fmla="*/ 0 h 2"/>
                <a:gd name="T6" fmla="*/ 6 w 158"/>
                <a:gd name="T7" fmla="*/ 0 h 2"/>
                <a:gd name="T8" fmla="*/ 0 w 158"/>
                <a:gd name="T9" fmla="*/ 2 h 2"/>
                <a:gd name="T10" fmla="*/ 6 w 158"/>
                <a:gd name="T11" fmla="*/ 0 h 2"/>
                <a:gd name="T12" fmla="*/ 158 w 158"/>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58" h="2">
                  <a:moveTo>
                    <a:pt x="158" y="0"/>
                  </a:moveTo>
                  <a:cubicBezTo>
                    <a:pt x="158" y="0"/>
                    <a:pt x="158" y="0"/>
                    <a:pt x="158" y="0"/>
                  </a:cubicBezTo>
                  <a:cubicBezTo>
                    <a:pt x="158" y="0"/>
                    <a:pt x="158" y="0"/>
                    <a:pt x="158" y="0"/>
                  </a:cubicBezTo>
                  <a:cubicBezTo>
                    <a:pt x="6" y="0"/>
                    <a:pt x="6" y="0"/>
                    <a:pt x="6" y="0"/>
                  </a:cubicBezTo>
                  <a:cubicBezTo>
                    <a:pt x="4" y="0"/>
                    <a:pt x="2" y="1"/>
                    <a:pt x="0" y="2"/>
                  </a:cubicBezTo>
                  <a:cubicBezTo>
                    <a:pt x="2" y="1"/>
                    <a:pt x="4" y="0"/>
                    <a:pt x="6" y="0"/>
                  </a:cubicBezTo>
                  <a:lnTo>
                    <a:pt x="158"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963F1C25-073A-4815-BF76-2C30D274584B}"/>
                </a:ext>
              </a:extLst>
            </p:cNvPr>
            <p:cNvSpPr>
              <a:spLocks/>
            </p:cNvSpPr>
            <p:nvPr/>
          </p:nvSpPr>
          <p:spPr bwMode="auto">
            <a:xfrm>
              <a:off x="3070225" y="2540000"/>
              <a:ext cx="50800" cy="495300"/>
            </a:xfrm>
            <a:custGeom>
              <a:avLst/>
              <a:gdLst>
                <a:gd name="T0" fmla="*/ 0 w 13"/>
                <a:gd name="T1" fmla="*/ 115 h 125"/>
                <a:gd name="T2" fmla="*/ 0 w 13"/>
                <a:gd name="T3" fmla="*/ 8 h 125"/>
                <a:gd name="T4" fmla="*/ 3 w 13"/>
                <a:gd name="T5" fmla="*/ 0 h 125"/>
                <a:gd name="T6" fmla="*/ 0 w 13"/>
                <a:gd name="T7" fmla="*/ 8 h 125"/>
                <a:gd name="T8" fmla="*/ 0 w 13"/>
                <a:gd name="T9" fmla="*/ 115 h 125"/>
                <a:gd name="T10" fmla="*/ 9 w 13"/>
                <a:gd name="T11" fmla="*/ 125 h 125"/>
                <a:gd name="T12" fmla="*/ 13 w 13"/>
                <a:gd name="T13" fmla="*/ 125 h 125"/>
                <a:gd name="T14" fmla="*/ 13 w 13"/>
                <a:gd name="T15" fmla="*/ 125 h 125"/>
                <a:gd name="T16" fmla="*/ 9 w 13"/>
                <a:gd name="T17" fmla="*/ 125 h 125"/>
                <a:gd name="T18" fmla="*/ 0 w 13"/>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5">
                  <a:moveTo>
                    <a:pt x="0" y="115"/>
                  </a:moveTo>
                  <a:cubicBezTo>
                    <a:pt x="0" y="8"/>
                    <a:pt x="0" y="8"/>
                    <a:pt x="0" y="8"/>
                  </a:cubicBezTo>
                  <a:cubicBezTo>
                    <a:pt x="0" y="5"/>
                    <a:pt x="1" y="2"/>
                    <a:pt x="3" y="0"/>
                  </a:cubicBezTo>
                  <a:cubicBezTo>
                    <a:pt x="1" y="2"/>
                    <a:pt x="0" y="5"/>
                    <a:pt x="0" y="8"/>
                  </a:cubicBezTo>
                  <a:cubicBezTo>
                    <a:pt x="0" y="115"/>
                    <a:pt x="0" y="115"/>
                    <a:pt x="0" y="115"/>
                  </a:cubicBezTo>
                  <a:cubicBezTo>
                    <a:pt x="0" y="120"/>
                    <a:pt x="4" y="125"/>
                    <a:pt x="9" y="125"/>
                  </a:cubicBezTo>
                  <a:cubicBezTo>
                    <a:pt x="13" y="125"/>
                    <a:pt x="13" y="125"/>
                    <a:pt x="13" y="125"/>
                  </a:cubicBezTo>
                  <a:cubicBezTo>
                    <a:pt x="13" y="125"/>
                    <a:pt x="13" y="125"/>
                    <a:pt x="13" y="125"/>
                  </a:cubicBezTo>
                  <a:cubicBezTo>
                    <a:pt x="9" y="125"/>
                    <a:pt x="9" y="125"/>
                    <a:pt x="9" y="125"/>
                  </a:cubicBezTo>
                  <a:cubicBezTo>
                    <a:pt x="4" y="125"/>
                    <a:pt x="0" y="120"/>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D90D09EF-9F50-49CD-9F40-A1BF1BFD0A1A}"/>
                </a:ext>
              </a:extLst>
            </p:cNvPr>
            <p:cNvSpPr>
              <a:spLocks/>
            </p:cNvSpPr>
            <p:nvPr/>
          </p:nvSpPr>
          <p:spPr bwMode="auto">
            <a:xfrm>
              <a:off x="3070225" y="2532063"/>
              <a:ext cx="638175" cy="503238"/>
            </a:xfrm>
            <a:custGeom>
              <a:avLst/>
              <a:gdLst>
                <a:gd name="T0" fmla="*/ 13 w 161"/>
                <a:gd name="T1" fmla="*/ 113 h 127"/>
                <a:gd name="T2" fmla="*/ 13 w 161"/>
                <a:gd name="T3" fmla="*/ 13 h 127"/>
                <a:gd name="T4" fmla="*/ 146 w 161"/>
                <a:gd name="T5" fmla="*/ 13 h 127"/>
                <a:gd name="T6" fmla="*/ 161 w 161"/>
                <a:gd name="T7" fmla="*/ 0 h 127"/>
                <a:gd name="T8" fmla="*/ 161 w 161"/>
                <a:gd name="T9" fmla="*/ 0 h 127"/>
                <a:gd name="T10" fmla="*/ 161 w 161"/>
                <a:gd name="T11" fmla="*/ 0 h 127"/>
                <a:gd name="T12" fmla="*/ 9 w 161"/>
                <a:gd name="T13" fmla="*/ 0 h 127"/>
                <a:gd name="T14" fmla="*/ 3 w 161"/>
                <a:gd name="T15" fmla="*/ 2 h 127"/>
                <a:gd name="T16" fmla="*/ 0 w 161"/>
                <a:gd name="T17" fmla="*/ 10 h 127"/>
                <a:gd name="T18" fmla="*/ 0 w 161"/>
                <a:gd name="T19" fmla="*/ 117 h 127"/>
                <a:gd name="T20" fmla="*/ 9 w 161"/>
                <a:gd name="T21" fmla="*/ 127 h 127"/>
                <a:gd name="T22" fmla="*/ 13 w 161"/>
                <a:gd name="T23" fmla="*/ 127 h 127"/>
                <a:gd name="T24" fmla="*/ 28 w 161"/>
                <a:gd name="T25" fmla="*/ 113 h 127"/>
                <a:gd name="T26" fmla="*/ 13 w 161"/>
                <a:gd name="T27" fmla="*/ 11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127">
                  <a:moveTo>
                    <a:pt x="13" y="113"/>
                  </a:moveTo>
                  <a:cubicBezTo>
                    <a:pt x="13" y="13"/>
                    <a:pt x="13" y="13"/>
                    <a:pt x="13" y="13"/>
                  </a:cubicBezTo>
                  <a:cubicBezTo>
                    <a:pt x="146" y="13"/>
                    <a:pt x="146" y="13"/>
                    <a:pt x="146" y="13"/>
                  </a:cubicBezTo>
                  <a:cubicBezTo>
                    <a:pt x="161" y="0"/>
                    <a:pt x="161" y="0"/>
                    <a:pt x="161" y="0"/>
                  </a:cubicBezTo>
                  <a:cubicBezTo>
                    <a:pt x="161" y="0"/>
                    <a:pt x="161" y="0"/>
                    <a:pt x="161" y="0"/>
                  </a:cubicBezTo>
                  <a:cubicBezTo>
                    <a:pt x="161" y="0"/>
                    <a:pt x="161" y="0"/>
                    <a:pt x="161" y="0"/>
                  </a:cubicBezTo>
                  <a:cubicBezTo>
                    <a:pt x="9" y="0"/>
                    <a:pt x="9" y="0"/>
                    <a:pt x="9" y="0"/>
                  </a:cubicBezTo>
                  <a:cubicBezTo>
                    <a:pt x="7" y="0"/>
                    <a:pt x="5" y="1"/>
                    <a:pt x="3" y="2"/>
                  </a:cubicBezTo>
                  <a:cubicBezTo>
                    <a:pt x="1" y="4"/>
                    <a:pt x="0" y="7"/>
                    <a:pt x="0" y="10"/>
                  </a:cubicBezTo>
                  <a:cubicBezTo>
                    <a:pt x="0" y="117"/>
                    <a:pt x="0" y="117"/>
                    <a:pt x="0" y="117"/>
                  </a:cubicBezTo>
                  <a:cubicBezTo>
                    <a:pt x="0" y="122"/>
                    <a:pt x="4" y="127"/>
                    <a:pt x="9" y="127"/>
                  </a:cubicBezTo>
                  <a:cubicBezTo>
                    <a:pt x="13" y="127"/>
                    <a:pt x="13" y="127"/>
                    <a:pt x="13" y="127"/>
                  </a:cubicBezTo>
                  <a:cubicBezTo>
                    <a:pt x="28" y="113"/>
                    <a:pt x="28" y="113"/>
                    <a:pt x="28" y="113"/>
                  </a:cubicBezTo>
                  <a:lnTo>
                    <a:pt x="13" y="1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11">
              <a:extLst>
                <a:ext uri="{FF2B5EF4-FFF2-40B4-BE49-F238E27FC236}">
                  <a16:creationId xmlns:a16="http://schemas.microsoft.com/office/drawing/2014/main" id="{D5E31175-4763-402B-9856-47B5697E539C}"/>
                </a:ext>
              </a:extLst>
            </p:cNvPr>
            <p:cNvSpPr>
              <a:spLocks noChangeArrowheads="1"/>
            </p:cNvSpPr>
            <p:nvPr/>
          </p:nvSpPr>
          <p:spPr bwMode="auto">
            <a:xfrm>
              <a:off x="3184525" y="3122613"/>
              <a:ext cx="449263" cy="4286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Oval 12">
              <a:extLst>
                <a:ext uri="{FF2B5EF4-FFF2-40B4-BE49-F238E27FC236}">
                  <a16:creationId xmlns:a16="http://schemas.microsoft.com/office/drawing/2014/main" id="{315FD1C1-E68E-4409-B8A7-2725CC61F05C}"/>
                </a:ext>
              </a:extLst>
            </p:cNvPr>
            <p:cNvSpPr>
              <a:spLocks noChangeArrowheads="1"/>
            </p:cNvSpPr>
            <p:nvPr/>
          </p:nvSpPr>
          <p:spPr bwMode="auto">
            <a:xfrm>
              <a:off x="3398838" y="2551113"/>
              <a:ext cx="20638" cy="2063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B5E29332-17F4-405C-9CDF-C68C3CEAEB52}"/>
                </a:ext>
              </a:extLst>
            </p:cNvPr>
            <p:cNvSpPr>
              <a:spLocks/>
            </p:cNvSpPr>
            <p:nvPr/>
          </p:nvSpPr>
          <p:spPr bwMode="auto">
            <a:xfrm>
              <a:off x="3121025" y="2532063"/>
              <a:ext cx="631825" cy="503238"/>
            </a:xfrm>
            <a:custGeom>
              <a:avLst/>
              <a:gdLst>
                <a:gd name="T0" fmla="*/ 148 w 159"/>
                <a:gd name="T1" fmla="*/ 0 h 127"/>
                <a:gd name="T2" fmla="*/ 133 w 159"/>
                <a:gd name="T3" fmla="*/ 13 h 127"/>
                <a:gd name="T4" fmla="*/ 145 w 159"/>
                <a:gd name="T5" fmla="*/ 13 h 127"/>
                <a:gd name="T6" fmla="*/ 145 w 159"/>
                <a:gd name="T7" fmla="*/ 113 h 127"/>
                <a:gd name="T8" fmla="*/ 15 w 159"/>
                <a:gd name="T9" fmla="*/ 113 h 127"/>
                <a:gd name="T10" fmla="*/ 0 w 159"/>
                <a:gd name="T11" fmla="*/ 127 h 127"/>
                <a:gd name="T12" fmla="*/ 148 w 159"/>
                <a:gd name="T13" fmla="*/ 127 h 127"/>
                <a:gd name="T14" fmla="*/ 159 w 159"/>
                <a:gd name="T15" fmla="*/ 117 h 127"/>
                <a:gd name="T16" fmla="*/ 159 w 159"/>
                <a:gd name="T17" fmla="*/ 10 h 127"/>
                <a:gd name="T18" fmla="*/ 148 w 159"/>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27">
                  <a:moveTo>
                    <a:pt x="148" y="0"/>
                  </a:moveTo>
                  <a:cubicBezTo>
                    <a:pt x="133" y="13"/>
                    <a:pt x="133" y="13"/>
                    <a:pt x="133" y="13"/>
                  </a:cubicBezTo>
                  <a:cubicBezTo>
                    <a:pt x="145" y="13"/>
                    <a:pt x="145" y="13"/>
                    <a:pt x="145" y="13"/>
                  </a:cubicBezTo>
                  <a:cubicBezTo>
                    <a:pt x="145" y="113"/>
                    <a:pt x="145" y="113"/>
                    <a:pt x="145" y="113"/>
                  </a:cubicBezTo>
                  <a:cubicBezTo>
                    <a:pt x="15" y="113"/>
                    <a:pt x="15" y="113"/>
                    <a:pt x="15" y="113"/>
                  </a:cubicBezTo>
                  <a:cubicBezTo>
                    <a:pt x="0" y="127"/>
                    <a:pt x="0" y="127"/>
                    <a:pt x="0" y="127"/>
                  </a:cubicBezTo>
                  <a:cubicBezTo>
                    <a:pt x="148" y="127"/>
                    <a:pt x="148" y="127"/>
                    <a:pt x="148" y="127"/>
                  </a:cubicBezTo>
                  <a:cubicBezTo>
                    <a:pt x="153" y="127"/>
                    <a:pt x="159" y="122"/>
                    <a:pt x="159" y="117"/>
                  </a:cubicBezTo>
                  <a:cubicBezTo>
                    <a:pt x="159" y="10"/>
                    <a:pt x="159" y="10"/>
                    <a:pt x="159" y="10"/>
                  </a:cubicBezTo>
                  <a:cubicBezTo>
                    <a:pt x="159" y="5"/>
                    <a:pt x="153" y="0"/>
                    <a:pt x="148" y="0"/>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17">
              <a:extLst>
                <a:ext uri="{FF2B5EF4-FFF2-40B4-BE49-F238E27FC236}">
                  <a16:creationId xmlns:a16="http://schemas.microsoft.com/office/drawing/2014/main" id="{B4A3A126-E2D6-454D-AC30-1E284572EC4D}"/>
                </a:ext>
              </a:extLst>
            </p:cNvPr>
            <p:cNvSpPr/>
            <p:nvPr/>
          </p:nvSpPr>
          <p:spPr>
            <a:xfrm flipH="1">
              <a:off x="3398301" y="2819251"/>
              <a:ext cx="40950" cy="4095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chemeClr val="accent2">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C2A54C98-D0D6-4C7C-BEEC-17D5BE86439A}"/>
                </a:ext>
              </a:extLst>
            </p:cNvPr>
            <p:cNvGrpSpPr/>
            <p:nvPr/>
          </p:nvGrpSpPr>
          <p:grpSpPr>
            <a:xfrm>
              <a:off x="3304525" y="2650292"/>
              <a:ext cx="222954" cy="268806"/>
              <a:chOff x="3325460" y="2650292"/>
              <a:chExt cx="222954" cy="268806"/>
            </a:xfrm>
          </p:grpSpPr>
          <p:sp>
            <p:nvSpPr>
              <p:cNvPr id="207" name="Freeform: Shape 16">
                <a:extLst>
                  <a:ext uri="{FF2B5EF4-FFF2-40B4-BE49-F238E27FC236}">
                    <a16:creationId xmlns:a16="http://schemas.microsoft.com/office/drawing/2014/main" id="{62DFE2D2-9481-469E-A37E-7E81ED43B353}"/>
                  </a:ext>
                </a:extLst>
              </p:cNvPr>
              <p:cNvSpPr/>
              <p:nvPr/>
            </p:nvSpPr>
            <p:spPr>
              <a:xfrm flipH="1">
                <a:off x="3325460" y="2750744"/>
                <a:ext cx="222954" cy="168354"/>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Shape 18">
                <a:extLst>
                  <a:ext uri="{FF2B5EF4-FFF2-40B4-BE49-F238E27FC236}">
                    <a16:creationId xmlns:a16="http://schemas.microsoft.com/office/drawing/2014/main" id="{048B311B-1AC0-4247-8758-BDB555CAAC2E}"/>
                  </a:ext>
                </a:extLst>
              </p:cNvPr>
              <p:cNvSpPr/>
              <p:nvPr/>
            </p:nvSpPr>
            <p:spPr>
              <a:xfrm flipH="1">
                <a:off x="3366601" y="2650292"/>
                <a:ext cx="140672" cy="13425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 name="connsiteX0" fmla="*/ 197162 w 203846"/>
                  <a:gd name="connsiteY0" fmla="*/ 63601 h 186782"/>
                  <a:gd name="connsiteX1" fmla="*/ 175537 w 203846"/>
                  <a:gd name="connsiteY1" fmla="*/ 30528 h 186782"/>
                  <a:gd name="connsiteX2" fmla="*/ 143101 w 203846"/>
                  <a:gd name="connsiteY2" fmla="*/ 8268 h 186782"/>
                  <a:gd name="connsiteX3" fmla="*/ 102397 w 203846"/>
                  <a:gd name="connsiteY3" fmla="*/ 0 h 186782"/>
                  <a:gd name="connsiteX4" fmla="*/ 61693 w 203846"/>
                  <a:gd name="connsiteY4" fmla="*/ 8268 h 186782"/>
                  <a:gd name="connsiteX5" fmla="*/ 29256 w 203846"/>
                  <a:gd name="connsiteY5" fmla="*/ 30528 h 186782"/>
                  <a:gd name="connsiteX6" fmla="*/ 7632 w 203846"/>
                  <a:gd name="connsiteY6" fmla="*/ 63601 h 186782"/>
                  <a:gd name="connsiteX7" fmla="*/ 0 w 203846"/>
                  <a:gd name="connsiteY7" fmla="*/ 102397 h 186782"/>
                  <a:gd name="connsiteX8" fmla="*/ 29335 w 203846"/>
                  <a:gd name="connsiteY8" fmla="*/ 186782 h 186782"/>
                  <a:gd name="connsiteX9" fmla="*/ 31164 w 203846"/>
                  <a:gd name="connsiteY9" fmla="*/ 73777 h 186782"/>
                  <a:gd name="connsiteX10" fmla="*/ 47064 w 203846"/>
                  <a:gd name="connsiteY10" fmla="*/ 48972 h 186782"/>
                  <a:gd name="connsiteX11" fmla="*/ 71233 w 203846"/>
                  <a:gd name="connsiteY11" fmla="*/ 31800 h 186782"/>
                  <a:gd name="connsiteX12" fmla="*/ 101761 w 203846"/>
                  <a:gd name="connsiteY12" fmla="*/ 25440 h 186782"/>
                  <a:gd name="connsiteX13" fmla="*/ 132289 w 203846"/>
                  <a:gd name="connsiteY13" fmla="*/ 31800 h 186782"/>
                  <a:gd name="connsiteX14" fmla="*/ 156457 w 203846"/>
                  <a:gd name="connsiteY14" fmla="*/ 48972 h 186782"/>
                  <a:gd name="connsiteX15" fmla="*/ 172357 w 203846"/>
                  <a:gd name="connsiteY15" fmla="*/ 73777 h 186782"/>
                  <a:gd name="connsiteX16" fmla="*/ 178081 w 203846"/>
                  <a:gd name="connsiteY16" fmla="*/ 104305 h 186782"/>
                  <a:gd name="connsiteX17" fmla="*/ 178081 w 203846"/>
                  <a:gd name="connsiteY17" fmla="*/ 178717 h 186782"/>
                  <a:gd name="connsiteX18" fmla="*/ 203522 w 203846"/>
                  <a:gd name="connsiteY18" fmla="*/ 178717 h 186782"/>
                  <a:gd name="connsiteX19" fmla="*/ 203522 w 203846"/>
                  <a:gd name="connsiteY19" fmla="*/ 104305 h 186782"/>
                  <a:gd name="connsiteX20" fmla="*/ 197162 w 203846"/>
                  <a:gd name="connsiteY20" fmla="*/ 63601 h 186782"/>
                  <a:gd name="connsiteX0" fmla="*/ 191752 w 198436"/>
                  <a:gd name="connsiteY0" fmla="*/ 63601 h 189379"/>
                  <a:gd name="connsiteX1" fmla="*/ 170127 w 198436"/>
                  <a:gd name="connsiteY1" fmla="*/ 30528 h 189379"/>
                  <a:gd name="connsiteX2" fmla="*/ 137691 w 198436"/>
                  <a:gd name="connsiteY2" fmla="*/ 8268 h 189379"/>
                  <a:gd name="connsiteX3" fmla="*/ 96987 w 198436"/>
                  <a:gd name="connsiteY3" fmla="*/ 0 h 189379"/>
                  <a:gd name="connsiteX4" fmla="*/ 56283 w 198436"/>
                  <a:gd name="connsiteY4" fmla="*/ 8268 h 189379"/>
                  <a:gd name="connsiteX5" fmla="*/ 23846 w 198436"/>
                  <a:gd name="connsiteY5" fmla="*/ 30528 h 189379"/>
                  <a:gd name="connsiteX6" fmla="*/ 2222 w 198436"/>
                  <a:gd name="connsiteY6" fmla="*/ 63601 h 189379"/>
                  <a:gd name="connsiteX7" fmla="*/ 2379 w 198436"/>
                  <a:gd name="connsiteY7" fmla="*/ 189379 h 189379"/>
                  <a:gd name="connsiteX8" fmla="*/ 23925 w 198436"/>
                  <a:gd name="connsiteY8" fmla="*/ 186782 h 189379"/>
                  <a:gd name="connsiteX9" fmla="*/ 25754 w 198436"/>
                  <a:gd name="connsiteY9" fmla="*/ 73777 h 189379"/>
                  <a:gd name="connsiteX10" fmla="*/ 41654 w 198436"/>
                  <a:gd name="connsiteY10" fmla="*/ 48972 h 189379"/>
                  <a:gd name="connsiteX11" fmla="*/ 65823 w 198436"/>
                  <a:gd name="connsiteY11" fmla="*/ 31800 h 189379"/>
                  <a:gd name="connsiteX12" fmla="*/ 96351 w 198436"/>
                  <a:gd name="connsiteY12" fmla="*/ 25440 h 189379"/>
                  <a:gd name="connsiteX13" fmla="*/ 126879 w 198436"/>
                  <a:gd name="connsiteY13" fmla="*/ 31800 h 189379"/>
                  <a:gd name="connsiteX14" fmla="*/ 151047 w 198436"/>
                  <a:gd name="connsiteY14" fmla="*/ 48972 h 189379"/>
                  <a:gd name="connsiteX15" fmla="*/ 166947 w 198436"/>
                  <a:gd name="connsiteY15" fmla="*/ 73777 h 189379"/>
                  <a:gd name="connsiteX16" fmla="*/ 172671 w 198436"/>
                  <a:gd name="connsiteY16" fmla="*/ 104305 h 189379"/>
                  <a:gd name="connsiteX17" fmla="*/ 172671 w 198436"/>
                  <a:gd name="connsiteY17" fmla="*/ 178717 h 189379"/>
                  <a:gd name="connsiteX18" fmla="*/ 198112 w 198436"/>
                  <a:gd name="connsiteY18" fmla="*/ 178717 h 189379"/>
                  <a:gd name="connsiteX19" fmla="*/ 198112 w 198436"/>
                  <a:gd name="connsiteY19" fmla="*/ 104305 h 189379"/>
                  <a:gd name="connsiteX20" fmla="*/ 191752 w 198436"/>
                  <a:gd name="connsiteY20" fmla="*/ 63601 h 1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36" h="189379">
                    <a:moveTo>
                      <a:pt x="191752" y="63601"/>
                    </a:moveTo>
                    <a:cubicBezTo>
                      <a:pt x="186664" y="50880"/>
                      <a:pt x="179667" y="40068"/>
                      <a:pt x="170127" y="30528"/>
                    </a:cubicBezTo>
                    <a:cubicBezTo>
                      <a:pt x="161223" y="20988"/>
                      <a:pt x="150411" y="13356"/>
                      <a:pt x="137691" y="8268"/>
                    </a:cubicBezTo>
                    <a:cubicBezTo>
                      <a:pt x="124971" y="2544"/>
                      <a:pt x="111615" y="0"/>
                      <a:pt x="96987" y="0"/>
                    </a:cubicBezTo>
                    <a:cubicBezTo>
                      <a:pt x="82359" y="0"/>
                      <a:pt x="69003" y="2544"/>
                      <a:pt x="56283" y="8268"/>
                    </a:cubicBezTo>
                    <a:cubicBezTo>
                      <a:pt x="43563" y="13992"/>
                      <a:pt x="32750" y="20988"/>
                      <a:pt x="23846" y="30528"/>
                    </a:cubicBezTo>
                    <a:cubicBezTo>
                      <a:pt x="14942" y="40068"/>
                      <a:pt x="7310" y="50880"/>
                      <a:pt x="2222" y="63601"/>
                    </a:cubicBezTo>
                    <a:cubicBezTo>
                      <a:pt x="-2866" y="75685"/>
                      <a:pt x="2379" y="175387"/>
                      <a:pt x="2379" y="189379"/>
                    </a:cubicBezTo>
                    <a:cubicBezTo>
                      <a:pt x="10859" y="189379"/>
                      <a:pt x="15445" y="186782"/>
                      <a:pt x="23925" y="186782"/>
                    </a:cubicBezTo>
                    <a:cubicBezTo>
                      <a:pt x="23925" y="176606"/>
                      <a:pt x="21938" y="82681"/>
                      <a:pt x="25754" y="73777"/>
                    </a:cubicBezTo>
                    <a:cubicBezTo>
                      <a:pt x="29570" y="64237"/>
                      <a:pt x="35294" y="55968"/>
                      <a:pt x="41654" y="48972"/>
                    </a:cubicBezTo>
                    <a:cubicBezTo>
                      <a:pt x="48650" y="41976"/>
                      <a:pt x="56918" y="36252"/>
                      <a:pt x="65823" y="31800"/>
                    </a:cubicBezTo>
                    <a:cubicBezTo>
                      <a:pt x="75363" y="27984"/>
                      <a:pt x="85539" y="25440"/>
                      <a:pt x="96351" y="25440"/>
                    </a:cubicBezTo>
                    <a:cubicBezTo>
                      <a:pt x="107163" y="25440"/>
                      <a:pt x="117339" y="27348"/>
                      <a:pt x="126879" y="31800"/>
                    </a:cubicBezTo>
                    <a:cubicBezTo>
                      <a:pt x="136419" y="35616"/>
                      <a:pt x="144687" y="41340"/>
                      <a:pt x="151047" y="48972"/>
                    </a:cubicBezTo>
                    <a:cubicBezTo>
                      <a:pt x="158043" y="55968"/>
                      <a:pt x="163131" y="64237"/>
                      <a:pt x="166947" y="73777"/>
                    </a:cubicBezTo>
                    <a:cubicBezTo>
                      <a:pt x="170764" y="83317"/>
                      <a:pt x="172671" y="93493"/>
                      <a:pt x="172671" y="104305"/>
                    </a:cubicBezTo>
                    <a:lnTo>
                      <a:pt x="172671" y="178717"/>
                    </a:lnTo>
                    <a:lnTo>
                      <a:pt x="198112" y="178717"/>
                    </a:lnTo>
                    <a:lnTo>
                      <a:pt x="198112" y="104305"/>
                    </a:lnTo>
                    <a:cubicBezTo>
                      <a:pt x="199384" y="89677"/>
                      <a:pt x="196840" y="76321"/>
                      <a:pt x="191752" y="63601"/>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 name="TextBox 10">
            <a:extLst>
              <a:ext uri="{FF2B5EF4-FFF2-40B4-BE49-F238E27FC236}">
                <a16:creationId xmlns:a16="http://schemas.microsoft.com/office/drawing/2014/main" id="{A8952424-7793-4DDD-9909-FA0082ED72D2}"/>
              </a:ext>
            </a:extLst>
          </p:cNvPr>
          <p:cNvSpPr txBox="1"/>
          <p:nvPr/>
        </p:nvSpPr>
        <p:spPr>
          <a:xfrm>
            <a:off x="4442752" y="5212294"/>
            <a:ext cx="426193" cy="566656"/>
          </a:xfrm>
          <a:prstGeom prst="rect">
            <a:avLst/>
          </a:prstGeom>
          <a:noFill/>
        </p:spPr>
        <p:txBody>
          <a:bodyPr wrap="none" lIns="179285" tIns="143428" rIns="179285" bIns="143428" rtlCol="0">
            <a:spAutoFit/>
          </a:bodyPr>
          <a:lstStyle/>
          <a:p>
            <a:pPr marL="0" marR="0" lvl="0" indent="0" algn="ctr" defTabSz="914016"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a:t>
            </a:r>
          </a:p>
        </p:txBody>
      </p:sp>
    </p:spTree>
    <p:extLst>
      <p:ext uri="{BB962C8B-B14F-4D97-AF65-F5344CB8AC3E}">
        <p14:creationId xmlns:p14="http://schemas.microsoft.com/office/powerpoint/2010/main" val="19359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grpSp>
        <p:nvGrpSpPr>
          <p:cNvPr id="123" name="Group 122" descr="Single control plane with Azure Arc">
            <a:extLst>
              <a:ext uri="{FF2B5EF4-FFF2-40B4-BE49-F238E27FC236}">
                <a16:creationId xmlns:a16="http://schemas.microsoft.com/office/drawing/2014/main" id="{AA96EF81-1ABA-47B4-869C-DA36A22F80C2}"/>
              </a:ext>
            </a:extLst>
          </p:cNvPr>
          <p:cNvGrpSpPr/>
          <p:nvPr/>
        </p:nvGrpSpPr>
        <p:grpSpPr>
          <a:xfrm>
            <a:off x="1577937" y="3298038"/>
            <a:ext cx="9036126" cy="345397"/>
            <a:chOff x="1172667" y="2377615"/>
            <a:chExt cx="9862954" cy="300146"/>
          </a:xfrm>
        </p:grpSpPr>
        <p:cxnSp>
          <p:nvCxnSpPr>
            <p:cNvPr id="124" name="Straight Connector 123">
              <a:extLst>
                <a:ext uri="{FF2B5EF4-FFF2-40B4-BE49-F238E27FC236}">
                  <a16:creationId xmlns:a16="http://schemas.microsoft.com/office/drawing/2014/main" id="{D6232E04-0533-4601-905E-FE2FB76AF3C0}"/>
                </a:ext>
              </a:extLst>
            </p:cNvPr>
            <p:cNvCxnSpPr>
              <a:cxnSpLocks/>
            </p:cNvCxnSpPr>
            <p:nvPr/>
          </p:nvCxnSpPr>
          <p:spPr>
            <a:xfrm>
              <a:off x="1172667" y="2527688"/>
              <a:ext cx="9862954" cy="0"/>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7D4F45F7-0478-4435-8081-C8B6D3A20E2C}"/>
                </a:ext>
              </a:extLst>
            </p:cNvPr>
            <p:cNvCxnSpPr>
              <a:cxnSpLocks/>
            </p:cNvCxnSpPr>
            <p:nvPr/>
          </p:nvCxnSpPr>
          <p:spPr>
            <a:xfrm>
              <a:off x="1172667"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70" name="Straight Connector 169">
              <a:extLst>
                <a:ext uri="{FF2B5EF4-FFF2-40B4-BE49-F238E27FC236}">
                  <a16:creationId xmlns:a16="http://schemas.microsoft.com/office/drawing/2014/main" id="{AFFF0339-3BE1-4B7F-8E75-E48F4667AC3B}"/>
                </a:ext>
              </a:extLst>
            </p:cNvPr>
            <p:cNvCxnSpPr>
              <a:cxnSpLocks/>
            </p:cNvCxnSpPr>
            <p:nvPr/>
          </p:nvCxnSpPr>
          <p:spPr>
            <a:xfrm>
              <a:off x="11035621" y="2377615"/>
              <a:ext cx="0" cy="300146"/>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
        <p:nvSpPr>
          <p:cNvPr id="171" name="Rectangle 170">
            <a:extLst>
              <a:ext uri="{FF2B5EF4-FFF2-40B4-BE49-F238E27FC236}">
                <a16:creationId xmlns:a16="http://schemas.microsoft.com/office/drawing/2014/main" id="{4D2A5CE5-2641-48D6-B09D-999FAA5750E1}"/>
              </a:ext>
              <a:ext uri="{C183D7F6-B498-43B3-948B-1728B52AA6E4}">
                <adec:decorative xmlns:adec="http://schemas.microsoft.com/office/drawing/2017/decorative" xmlns="" val="1"/>
              </a:ext>
            </a:extLst>
          </p:cNvPr>
          <p:cNvSpPr/>
          <p:nvPr/>
        </p:nvSpPr>
        <p:spPr bwMode="auto">
          <a:xfrm>
            <a:off x="4726891" y="3387232"/>
            <a:ext cx="2469770" cy="17857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TextBox 172">
            <a:extLst>
              <a:ext uri="{FF2B5EF4-FFF2-40B4-BE49-F238E27FC236}">
                <a16:creationId xmlns:a16="http://schemas.microsoft.com/office/drawing/2014/main" id="{9025B166-2168-4FC9-B76A-031BF3176D67}"/>
              </a:ext>
            </a:extLst>
          </p:cNvPr>
          <p:cNvSpPr txBox="1"/>
          <p:nvPr/>
        </p:nvSpPr>
        <p:spPr>
          <a:xfrm>
            <a:off x="4128026" y="3347802"/>
            <a:ext cx="3935949" cy="249299"/>
          </a:xfrm>
          <a:prstGeom prst="rect">
            <a:avLst/>
          </a:prstGeom>
          <a:solidFill>
            <a:srgbClr val="000000"/>
          </a:solidFill>
        </p:spPr>
        <p:txBody>
          <a:bodyPr wrap="none" lIns="91440" tIns="0" rIns="91440" bIns="0" rtlCol="0">
            <a:sp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Single control plane with</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 </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Arc </a:t>
            </a:r>
          </a:p>
        </p:txBody>
      </p:sp>
      <p:grpSp>
        <p:nvGrpSpPr>
          <p:cNvPr id="6" name="Group 5">
            <a:extLst>
              <a:ext uri="{FF2B5EF4-FFF2-40B4-BE49-F238E27FC236}">
                <a16:creationId xmlns:a16="http://schemas.microsoft.com/office/drawing/2014/main" id="{23189A88-9DDB-4E22-BEB5-21BA3CCC67C5}"/>
              </a:ext>
              <a:ext uri="{C183D7F6-B498-43B3-948B-1728B52AA6E4}">
                <adec:decorative xmlns:adec="http://schemas.microsoft.com/office/drawing/2017/decorative" xmlns="" val="1"/>
              </a:ext>
            </a:extLst>
          </p:cNvPr>
          <p:cNvGrpSpPr/>
          <p:nvPr/>
        </p:nvGrpSpPr>
        <p:grpSpPr>
          <a:xfrm>
            <a:off x="1805815" y="4026824"/>
            <a:ext cx="8580370" cy="1983334"/>
            <a:chOff x="1805815" y="4213436"/>
            <a:chExt cx="8580370" cy="1983334"/>
          </a:xfrm>
        </p:grpSpPr>
        <p:grpSp>
          <p:nvGrpSpPr>
            <p:cNvPr id="127" name="Group 126">
              <a:extLst>
                <a:ext uri="{FF2B5EF4-FFF2-40B4-BE49-F238E27FC236}">
                  <a16:creationId xmlns:a16="http://schemas.microsoft.com/office/drawing/2014/main" id="{AAC86D8C-68E7-4EB0-BE90-DD6D84F0677F}"/>
                </a:ext>
              </a:extLst>
            </p:cNvPr>
            <p:cNvGrpSpPr/>
            <p:nvPr/>
          </p:nvGrpSpPr>
          <p:grpSpPr>
            <a:xfrm>
              <a:off x="8729245" y="4316425"/>
              <a:ext cx="1073600" cy="1046112"/>
              <a:chOff x="8808768" y="4254492"/>
              <a:chExt cx="883548" cy="885192"/>
            </a:xfrm>
          </p:grpSpPr>
          <p:grpSp>
            <p:nvGrpSpPr>
              <p:cNvPr id="128" name="Group 127">
                <a:extLst>
                  <a:ext uri="{FF2B5EF4-FFF2-40B4-BE49-F238E27FC236}">
                    <a16:creationId xmlns:a16="http://schemas.microsoft.com/office/drawing/2014/main" id="{E3067143-8FA2-4BED-A06C-F09E249A0AB9}"/>
                  </a:ext>
                </a:extLst>
              </p:cNvPr>
              <p:cNvGrpSpPr/>
              <p:nvPr/>
            </p:nvGrpSpPr>
            <p:grpSpPr>
              <a:xfrm>
                <a:off x="8808768" y="4254492"/>
                <a:ext cx="883548" cy="885192"/>
                <a:chOff x="25966924" y="5486401"/>
                <a:chExt cx="3004992" cy="3010584"/>
              </a:xfrm>
            </p:grpSpPr>
            <p:grpSp>
              <p:nvGrpSpPr>
                <p:cNvPr id="130" name="Group 129">
                  <a:extLst>
                    <a:ext uri="{FF2B5EF4-FFF2-40B4-BE49-F238E27FC236}">
                      <a16:creationId xmlns:a16="http://schemas.microsoft.com/office/drawing/2014/main" id="{1BC4C966-A9E9-417E-90F6-837BF3F98FAD}"/>
                    </a:ext>
                  </a:extLst>
                </p:cNvPr>
                <p:cNvGrpSpPr/>
                <p:nvPr/>
              </p:nvGrpSpPr>
              <p:grpSpPr>
                <a:xfrm>
                  <a:off x="27009725" y="8105775"/>
                  <a:ext cx="908051" cy="339725"/>
                  <a:chOff x="27009725" y="8105775"/>
                  <a:chExt cx="908051" cy="339725"/>
                </a:xfrm>
              </p:grpSpPr>
              <p:cxnSp>
                <p:nvCxnSpPr>
                  <p:cNvPr id="166" name="Straight Connector 165">
                    <a:extLst>
                      <a:ext uri="{FF2B5EF4-FFF2-40B4-BE49-F238E27FC236}">
                        <a16:creationId xmlns:a16="http://schemas.microsoft.com/office/drawing/2014/main" id="{6675D78A-8676-418B-ADD7-39DF554877C7}"/>
                      </a:ext>
                    </a:extLst>
                  </p:cNvPr>
                  <p:cNvCxnSpPr>
                    <a:cxnSpLocks/>
                  </p:cNvCxnSpPr>
                  <p:nvPr/>
                </p:nvCxnSpPr>
                <p:spPr>
                  <a:xfrm>
                    <a:off x="27009725" y="8105775"/>
                    <a:ext cx="149225" cy="336550"/>
                  </a:xfrm>
                  <a:prstGeom prst="line">
                    <a:avLst/>
                  </a:prstGeom>
                  <a:noFill/>
                  <a:ln w="9525" cap="rnd">
                    <a:solidFill>
                      <a:schemeClr val="accent2"/>
                    </a:solidFill>
                    <a:prstDash val="solid"/>
                    <a:round/>
                  </a:ln>
                </p:spPr>
              </p:cxnSp>
              <p:cxnSp>
                <p:nvCxnSpPr>
                  <p:cNvPr id="167" name="Straight Connector 166">
                    <a:extLst>
                      <a:ext uri="{FF2B5EF4-FFF2-40B4-BE49-F238E27FC236}">
                        <a16:creationId xmlns:a16="http://schemas.microsoft.com/office/drawing/2014/main" id="{13D58E02-1E40-4575-A1EC-221D5824D4DE}"/>
                      </a:ext>
                    </a:extLst>
                  </p:cNvPr>
                  <p:cNvCxnSpPr>
                    <a:cxnSpLocks/>
                  </p:cNvCxnSpPr>
                  <p:nvPr/>
                </p:nvCxnSpPr>
                <p:spPr>
                  <a:xfrm flipH="1">
                    <a:off x="27162126" y="8197850"/>
                    <a:ext cx="314324" cy="247650"/>
                  </a:xfrm>
                  <a:prstGeom prst="line">
                    <a:avLst/>
                  </a:prstGeom>
                  <a:noFill/>
                  <a:ln w="9525" cap="rnd">
                    <a:solidFill>
                      <a:schemeClr val="accent2"/>
                    </a:solidFill>
                    <a:prstDash val="solid"/>
                    <a:round/>
                  </a:ln>
                </p:spPr>
              </p:cxnSp>
              <p:cxnSp>
                <p:nvCxnSpPr>
                  <p:cNvPr id="168" name="Straight Connector 167">
                    <a:extLst>
                      <a:ext uri="{FF2B5EF4-FFF2-40B4-BE49-F238E27FC236}">
                        <a16:creationId xmlns:a16="http://schemas.microsoft.com/office/drawing/2014/main" id="{F80D4F09-3C32-4989-AD88-ECC51742949E}"/>
                      </a:ext>
                    </a:extLst>
                  </p:cNvPr>
                  <p:cNvCxnSpPr>
                    <a:cxnSpLocks/>
                  </p:cNvCxnSpPr>
                  <p:nvPr/>
                </p:nvCxnSpPr>
                <p:spPr>
                  <a:xfrm>
                    <a:off x="27473275" y="8201025"/>
                    <a:ext cx="307975" cy="225425"/>
                  </a:xfrm>
                  <a:prstGeom prst="line">
                    <a:avLst/>
                  </a:prstGeom>
                  <a:noFill/>
                  <a:ln w="9525" cap="rnd">
                    <a:solidFill>
                      <a:schemeClr val="accent2"/>
                    </a:solidFill>
                    <a:prstDash val="solid"/>
                    <a:round/>
                  </a:ln>
                </p:spPr>
              </p:cxnSp>
              <p:cxnSp>
                <p:nvCxnSpPr>
                  <p:cNvPr id="169" name="Straight Connector 168">
                    <a:extLst>
                      <a:ext uri="{FF2B5EF4-FFF2-40B4-BE49-F238E27FC236}">
                        <a16:creationId xmlns:a16="http://schemas.microsoft.com/office/drawing/2014/main" id="{58F5FEBD-7F32-4867-87B3-C2E4D2370EB4}"/>
                      </a:ext>
                    </a:extLst>
                  </p:cNvPr>
                  <p:cNvCxnSpPr>
                    <a:cxnSpLocks/>
                  </p:cNvCxnSpPr>
                  <p:nvPr/>
                </p:nvCxnSpPr>
                <p:spPr>
                  <a:xfrm flipH="1">
                    <a:off x="27771725" y="8105775"/>
                    <a:ext cx="146051" cy="311150"/>
                  </a:xfrm>
                  <a:prstGeom prst="line">
                    <a:avLst/>
                  </a:prstGeom>
                  <a:noFill/>
                  <a:ln w="9525" cap="rnd">
                    <a:solidFill>
                      <a:schemeClr val="accent2"/>
                    </a:solidFill>
                    <a:prstDash val="solid"/>
                    <a:round/>
                  </a:ln>
                </p:spPr>
              </p:cxnSp>
            </p:grpSp>
            <p:sp>
              <p:nvSpPr>
                <p:cNvPr id="131" name="Freeform: Shape 130">
                  <a:extLst>
                    <a:ext uri="{FF2B5EF4-FFF2-40B4-BE49-F238E27FC236}">
                      <a16:creationId xmlns:a16="http://schemas.microsoft.com/office/drawing/2014/main" id="{227B10BB-26A1-452B-9927-7B396D44DDA3}"/>
                    </a:ext>
                  </a:extLst>
                </p:cNvPr>
                <p:cNvSpPr/>
                <p:nvPr/>
              </p:nvSpPr>
              <p:spPr bwMode="auto">
                <a:xfrm>
                  <a:off x="26640768" y="8206329"/>
                  <a:ext cx="1649136" cy="251870"/>
                </a:xfrm>
                <a:custGeom>
                  <a:avLst/>
                  <a:gdLst>
                    <a:gd name="connsiteX0" fmla="*/ 0 w 1706664"/>
                    <a:gd name="connsiteY0" fmla="*/ 0 h 273380"/>
                    <a:gd name="connsiteX1" fmla="*/ 1706664 w 1706664"/>
                    <a:gd name="connsiteY1" fmla="*/ 0 h 273380"/>
                    <a:gd name="connsiteX2" fmla="*/ 1677900 w 1706664"/>
                    <a:gd name="connsiteY2" fmla="*/ 21510 h 273380"/>
                    <a:gd name="connsiteX3" fmla="*/ 853332 w 1706664"/>
                    <a:gd name="connsiteY3" fmla="*/ 273380 h 273380"/>
                    <a:gd name="connsiteX4" fmla="*/ 28764 w 1706664"/>
                    <a:gd name="connsiteY4" fmla="*/ 21510 h 273380"/>
                    <a:gd name="connsiteX0" fmla="*/ 0 w 1677900"/>
                    <a:gd name="connsiteY0" fmla="*/ 0 h 273380"/>
                    <a:gd name="connsiteX1" fmla="*/ 1677900 w 1677900"/>
                    <a:gd name="connsiteY1" fmla="*/ 21510 h 273380"/>
                    <a:gd name="connsiteX2" fmla="*/ 853332 w 1677900"/>
                    <a:gd name="connsiteY2" fmla="*/ 273380 h 273380"/>
                    <a:gd name="connsiteX3" fmla="*/ 28764 w 1677900"/>
                    <a:gd name="connsiteY3" fmla="*/ 21510 h 273380"/>
                    <a:gd name="connsiteX4" fmla="*/ 0 w 1677900"/>
                    <a:gd name="connsiteY4" fmla="*/ 0 h 273380"/>
                    <a:gd name="connsiteX0" fmla="*/ 0 w 1649136"/>
                    <a:gd name="connsiteY0" fmla="*/ 0 h 251870"/>
                    <a:gd name="connsiteX1" fmla="*/ 1649136 w 1649136"/>
                    <a:gd name="connsiteY1" fmla="*/ 0 h 251870"/>
                    <a:gd name="connsiteX2" fmla="*/ 824568 w 1649136"/>
                    <a:gd name="connsiteY2" fmla="*/ 251870 h 251870"/>
                    <a:gd name="connsiteX3" fmla="*/ 0 w 1649136"/>
                    <a:gd name="connsiteY3" fmla="*/ 0 h 251870"/>
                    <a:gd name="connsiteX0" fmla="*/ 1649136 w 1740576"/>
                    <a:gd name="connsiteY0" fmla="*/ 0 h 251870"/>
                    <a:gd name="connsiteX1" fmla="*/ 824568 w 1740576"/>
                    <a:gd name="connsiteY1" fmla="*/ 251870 h 251870"/>
                    <a:gd name="connsiteX2" fmla="*/ 0 w 1740576"/>
                    <a:gd name="connsiteY2" fmla="*/ 0 h 251870"/>
                    <a:gd name="connsiteX3" fmla="*/ 1740576 w 1740576"/>
                    <a:gd name="connsiteY3" fmla="*/ 91440 h 251870"/>
                    <a:gd name="connsiteX0" fmla="*/ 1649136 w 1649136"/>
                    <a:gd name="connsiteY0" fmla="*/ 0 h 251870"/>
                    <a:gd name="connsiteX1" fmla="*/ 824568 w 1649136"/>
                    <a:gd name="connsiteY1" fmla="*/ 251870 h 251870"/>
                    <a:gd name="connsiteX2" fmla="*/ 0 w 1649136"/>
                    <a:gd name="connsiteY2" fmla="*/ 0 h 251870"/>
                  </a:gdLst>
                  <a:ahLst/>
                  <a:cxnLst>
                    <a:cxn ang="0">
                      <a:pos x="connsiteX0" y="connsiteY0"/>
                    </a:cxn>
                    <a:cxn ang="0">
                      <a:pos x="connsiteX1" y="connsiteY1"/>
                    </a:cxn>
                    <a:cxn ang="0">
                      <a:pos x="connsiteX2" y="connsiteY2"/>
                    </a:cxn>
                  </a:cxnLst>
                  <a:rect l="l" t="t" r="r" b="b"/>
                  <a:pathLst>
                    <a:path w="1649136" h="251870">
                      <a:moveTo>
                        <a:pt x="1649136" y="0"/>
                      </a:moveTo>
                      <a:cubicBezTo>
                        <a:pt x="1413758" y="159018"/>
                        <a:pt x="1130006" y="251870"/>
                        <a:pt x="824568" y="251870"/>
                      </a:cubicBezTo>
                      <a:cubicBezTo>
                        <a:pt x="519130" y="251870"/>
                        <a:pt x="235378" y="159018"/>
                        <a:pt x="0" y="0"/>
                      </a:cubicBez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32" name="Blue outlines">
                  <a:extLst>
                    <a:ext uri="{FF2B5EF4-FFF2-40B4-BE49-F238E27FC236}">
                      <a16:creationId xmlns:a16="http://schemas.microsoft.com/office/drawing/2014/main" id="{1A12816A-C4D9-493F-B769-FB3B581D16D1}"/>
                    </a:ext>
                  </a:extLst>
                </p:cNvPr>
                <p:cNvSpPr/>
                <p:nvPr/>
              </p:nvSpPr>
              <p:spPr>
                <a:xfrm>
                  <a:off x="26000137" y="5518429"/>
                  <a:ext cx="2933836" cy="2692601"/>
                </a:xfrm>
                <a:custGeom>
                  <a:avLst/>
                  <a:gdLst>
                    <a:gd name="connsiteX0" fmla="*/ 1730693 w 7877175"/>
                    <a:gd name="connsiteY0" fmla="*/ 7202805 h 7229475"/>
                    <a:gd name="connsiteX1" fmla="*/ 0 w 7877175"/>
                    <a:gd name="connsiteY1" fmla="*/ 3940493 h 7229475"/>
                    <a:gd name="connsiteX2" fmla="*/ 3940493 w 7877175"/>
                    <a:gd name="connsiteY2" fmla="*/ 0 h 7229475"/>
                    <a:gd name="connsiteX3" fmla="*/ 7880985 w 7877175"/>
                    <a:gd name="connsiteY3" fmla="*/ 3940493 h 7229475"/>
                    <a:gd name="connsiteX4" fmla="*/ 6106478 w 7877175"/>
                    <a:gd name="connsiteY4" fmla="*/ 7232333 h 7229475"/>
                    <a:gd name="connsiteX5" fmla="*/ 3940493 w 7877175"/>
                    <a:gd name="connsiteY5" fmla="*/ 692468 h 7229475"/>
                    <a:gd name="connsiteX6" fmla="*/ 693420 w 7877175"/>
                    <a:gd name="connsiteY6" fmla="*/ 3939540 h 7229475"/>
                    <a:gd name="connsiteX7" fmla="*/ 3940493 w 7877175"/>
                    <a:gd name="connsiteY7" fmla="*/ 7186613 h 7229475"/>
                    <a:gd name="connsiteX8" fmla="*/ 7187565 w 7877175"/>
                    <a:gd name="connsiteY8" fmla="*/ 3939540 h 7229475"/>
                    <a:gd name="connsiteX9" fmla="*/ 3940493 w 7877175"/>
                    <a:gd name="connsiteY9" fmla="*/ 692468 h 7229475"/>
                    <a:gd name="connsiteX10" fmla="*/ 5163503 w 7877175"/>
                    <a:gd name="connsiteY10" fmla="*/ 6949440 h 7229475"/>
                    <a:gd name="connsiteX11" fmla="*/ 6107430 w 7877175"/>
                    <a:gd name="connsiteY11" fmla="*/ 7232333 h 7229475"/>
                    <a:gd name="connsiteX12" fmla="*/ 6219825 w 7877175"/>
                    <a:gd name="connsiteY12" fmla="*/ 6253163 h 7229475"/>
                    <a:gd name="connsiteX13" fmla="*/ 7200900 w 7877175"/>
                    <a:gd name="connsiteY13" fmla="*/ 6155055 h 7229475"/>
                    <a:gd name="connsiteX14" fmla="*/ 6932295 w 7877175"/>
                    <a:gd name="connsiteY14" fmla="*/ 5205413 h 7229475"/>
                    <a:gd name="connsiteX15" fmla="*/ 7800023 w 7877175"/>
                    <a:gd name="connsiteY15" fmla="*/ 4740593 h 7229475"/>
                    <a:gd name="connsiteX16" fmla="*/ 7188518 w 7877175"/>
                    <a:gd name="connsiteY16" fmla="*/ 3969068 h 7229475"/>
                    <a:gd name="connsiteX17" fmla="*/ 7812405 w 7877175"/>
                    <a:gd name="connsiteY17" fmla="*/ 3205163 h 7229475"/>
                    <a:gd name="connsiteX18" fmla="*/ 6953250 w 7877175"/>
                    <a:gd name="connsiteY18" fmla="*/ 2726055 h 7229475"/>
                    <a:gd name="connsiteX19" fmla="*/ 7236143 w 7877175"/>
                    <a:gd name="connsiteY19" fmla="*/ 1781175 h 7229475"/>
                    <a:gd name="connsiteX20" fmla="*/ 6257925 w 7877175"/>
                    <a:gd name="connsiteY20" fmla="*/ 1666875 h 7229475"/>
                    <a:gd name="connsiteX21" fmla="*/ 6158865 w 7877175"/>
                    <a:gd name="connsiteY21" fmla="*/ 683895 h 7229475"/>
                    <a:gd name="connsiteX22" fmla="*/ 5214938 w 7877175"/>
                    <a:gd name="connsiteY22" fmla="*/ 952500 h 7229475"/>
                    <a:gd name="connsiteX23" fmla="*/ 4743450 w 7877175"/>
                    <a:gd name="connsiteY23" fmla="*/ 81915 h 7229475"/>
                    <a:gd name="connsiteX24" fmla="*/ 3970020 w 7877175"/>
                    <a:gd name="connsiteY24" fmla="*/ 692468 h 7229475"/>
                    <a:gd name="connsiteX25" fmla="*/ 3204210 w 7877175"/>
                    <a:gd name="connsiteY25" fmla="*/ 68580 h 7229475"/>
                    <a:gd name="connsiteX26" fmla="*/ 2721293 w 7877175"/>
                    <a:gd name="connsiteY26" fmla="*/ 928687 h 7229475"/>
                    <a:gd name="connsiteX27" fmla="*/ 1776413 w 7877175"/>
                    <a:gd name="connsiteY27" fmla="*/ 646748 h 7229475"/>
                    <a:gd name="connsiteX28" fmla="*/ 1661160 w 7877175"/>
                    <a:gd name="connsiteY28" fmla="*/ 1626870 h 7229475"/>
                    <a:gd name="connsiteX29" fmla="*/ 681038 w 7877175"/>
                    <a:gd name="connsiteY29" fmla="*/ 1725930 h 7229475"/>
                    <a:gd name="connsiteX30" fmla="*/ 947738 w 7877175"/>
                    <a:gd name="connsiteY30" fmla="*/ 2678430 h 7229475"/>
                    <a:gd name="connsiteX31" fmla="*/ 80963 w 7877175"/>
                    <a:gd name="connsiteY31" fmla="*/ 3145155 h 7229475"/>
                    <a:gd name="connsiteX32" fmla="*/ 80963 w 7877175"/>
                    <a:gd name="connsiteY32" fmla="*/ 3145155 h 7229475"/>
                    <a:gd name="connsiteX33" fmla="*/ 693420 w 7877175"/>
                    <a:gd name="connsiteY33" fmla="*/ 3919538 h 7229475"/>
                    <a:gd name="connsiteX34" fmla="*/ 70485 w 7877175"/>
                    <a:gd name="connsiteY34" fmla="*/ 4684395 h 7229475"/>
                    <a:gd name="connsiteX35" fmla="*/ 931545 w 7877175"/>
                    <a:gd name="connsiteY35" fmla="*/ 5165408 h 7229475"/>
                    <a:gd name="connsiteX36" fmla="*/ 649605 w 7877175"/>
                    <a:gd name="connsiteY36" fmla="*/ 6109335 h 7229475"/>
                    <a:gd name="connsiteX37" fmla="*/ 1629728 w 7877175"/>
                    <a:gd name="connsiteY37" fmla="*/ 6223635 h 7229475"/>
                    <a:gd name="connsiteX38" fmla="*/ 1730693 w 7877175"/>
                    <a:gd name="connsiteY38" fmla="*/ 7203758 h 7229475"/>
                    <a:gd name="connsiteX39" fmla="*/ 2678430 w 7877175"/>
                    <a:gd name="connsiteY39" fmla="*/ 6934200 h 722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877175" h="7229475">
                      <a:moveTo>
                        <a:pt x="1730693" y="7202805"/>
                      </a:moveTo>
                      <a:cubicBezTo>
                        <a:pt x="686753" y="6494145"/>
                        <a:pt x="0" y="5296853"/>
                        <a:pt x="0" y="3940493"/>
                      </a:cubicBezTo>
                      <a:cubicBezTo>
                        <a:pt x="0" y="1764030"/>
                        <a:pt x="1764030" y="0"/>
                        <a:pt x="3940493" y="0"/>
                      </a:cubicBezTo>
                      <a:cubicBezTo>
                        <a:pt x="6116955" y="0"/>
                        <a:pt x="7880985" y="1764030"/>
                        <a:pt x="7880985" y="3940493"/>
                      </a:cubicBezTo>
                      <a:cubicBezTo>
                        <a:pt x="7880985" y="5316855"/>
                        <a:pt x="7175183" y="6528435"/>
                        <a:pt x="6106478" y="7232333"/>
                      </a:cubicBezTo>
                      <a:moveTo>
                        <a:pt x="3940493" y="692468"/>
                      </a:moveTo>
                      <a:cubicBezTo>
                        <a:pt x="2146935" y="692468"/>
                        <a:pt x="693420" y="2145983"/>
                        <a:pt x="693420" y="3939540"/>
                      </a:cubicBezTo>
                      <a:cubicBezTo>
                        <a:pt x="693420" y="5733098"/>
                        <a:pt x="2146935" y="7186613"/>
                        <a:pt x="3940493" y="7186613"/>
                      </a:cubicBezTo>
                      <a:cubicBezTo>
                        <a:pt x="5734050" y="7186613"/>
                        <a:pt x="7187565" y="5733098"/>
                        <a:pt x="7187565" y="3939540"/>
                      </a:cubicBezTo>
                      <a:cubicBezTo>
                        <a:pt x="7187565" y="2145983"/>
                        <a:pt x="5734050" y="692468"/>
                        <a:pt x="3940493" y="692468"/>
                      </a:cubicBezTo>
                      <a:close/>
                      <a:moveTo>
                        <a:pt x="5163503" y="6949440"/>
                      </a:moveTo>
                      <a:lnTo>
                        <a:pt x="6107430" y="7232333"/>
                      </a:lnTo>
                      <a:lnTo>
                        <a:pt x="6219825" y="6253163"/>
                      </a:lnTo>
                      <a:lnTo>
                        <a:pt x="7200900" y="6155055"/>
                      </a:lnTo>
                      <a:lnTo>
                        <a:pt x="6932295" y="5205413"/>
                      </a:lnTo>
                      <a:lnTo>
                        <a:pt x="7800023" y="4740593"/>
                      </a:lnTo>
                      <a:lnTo>
                        <a:pt x="7188518" y="3969068"/>
                      </a:lnTo>
                      <a:lnTo>
                        <a:pt x="7812405" y="3205163"/>
                      </a:lnTo>
                      <a:lnTo>
                        <a:pt x="6953250" y="2726055"/>
                      </a:lnTo>
                      <a:lnTo>
                        <a:pt x="7236143" y="1781175"/>
                      </a:lnTo>
                      <a:lnTo>
                        <a:pt x="6257925" y="1666875"/>
                      </a:lnTo>
                      <a:lnTo>
                        <a:pt x="6158865" y="683895"/>
                      </a:lnTo>
                      <a:lnTo>
                        <a:pt x="5214938" y="952500"/>
                      </a:lnTo>
                      <a:lnTo>
                        <a:pt x="4743450" y="81915"/>
                      </a:lnTo>
                      <a:lnTo>
                        <a:pt x="3970020" y="692468"/>
                      </a:lnTo>
                      <a:lnTo>
                        <a:pt x="3204210" y="68580"/>
                      </a:lnTo>
                      <a:lnTo>
                        <a:pt x="2721293" y="928687"/>
                      </a:lnTo>
                      <a:lnTo>
                        <a:pt x="1776413" y="646748"/>
                      </a:lnTo>
                      <a:lnTo>
                        <a:pt x="1661160" y="1626870"/>
                      </a:lnTo>
                      <a:lnTo>
                        <a:pt x="681038" y="1725930"/>
                      </a:lnTo>
                      <a:lnTo>
                        <a:pt x="947738" y="2678430"/>
                      </a:lnTo>
                      <a:lnTo>
                        <a:pt x="80963" y="3145155"/>
                      </a:lnTo>
                      <a:lnTo>
                        <a:pt x="80963" y="3145155"/>
                      </a:lnTo>
                      <a:lnTo>
                        <a:pt x="693420" y="3919538"/>
                      </a:lnTo>
                      <a:lnTo>
                        <a:pt x="70485" y="4684395"/>
                      </a:lnTo>
                      <a:lnTo>
                        <a:pt x="931545" y="5165408"/>
                      </a:lnTo>
                      <a:lnTo>
                        <a:pt x="649605" y="6109335"/>
                      </a:lnTo>
                      <a:lnTo>
                        <a:pt x="1629728" y="6223635"/>
                      </a:lnTo>
                      <a:lnTo>
                        <a:pt x="1730693" y="7203758"/>
                      </a:lnTo>
                      <a:lnTo>
                        <a:pt x="2678430" y="6934200"/>
                      </a:lnTo>
                    </a:path>
                  </a:pathLst>
                </a:custGeom>
                <a:noFill/>
                <a:ln w="9525"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Oval 132">
                  <a:extLst>
                    <a:ext uri="{FF2B5EF4-FFF2-40B4-BE49-F238E27FC236}">
                      <a16:creationId xmlns:a16="http://schemas.microsoft.com/office/drawing/2014/main" id="{AF13312D-D2B2-403D-922D-53CA84D9EAE2}"/>
                    </a:ext>
                  </a:extLst>
                </p:cNvPr>
                <p:cNvSpPr/>
                <p:nvPr/>
              </p:nvSpPr>
              <p:spPr bwMode="auto">
                <a:xfrm>
                  <a:off x="27132417" y="548640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0ABFA496-4F6B-48E0-82B2-3E227180A638}"/>
                    </a:ext>
                  </a:extLst>
                </p:cNvPr>
                <p:cNvSpPr/>
                <p:nvPr/>
              </p:nvSpPr>
              <p:spPr bwMode="auto">
                <a:xfrm>
                  <a:off x="27704167" y="549113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5DE17C7D-5F14-4098-A977-2F3F2E5FE07A}"/>
                    </a:ext>
                  </a:extLst>
                </p:cNvPr>
                <p:cNvSpPr/>
                <p:nvPr/>
              </p:nvSpPr>
              <p:spPr bwMode="auto">
                <a:xfrm>
                  <a:off x="28229206" y="571285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7F4725A6-58B0-48D4-B4BE-DDF29592B094}"/>
                    </a:ext>
                  </a:extLst>
                </p:cNvPr>
                <p:cNvSpPr/>
                <p:nvPr/>
              </p:nvSpPr>
              <p:spPr bwMode="auto">
                <a:xfrm>
                  <a:off x="28631855" y="612082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8A31018E-0CB3-4474-8880-8B33CAEFBFA7}"/>
                    </a:ext>
                  </a:extLst>
                </p:cNvPr>
                <p:cNvSpPr/>
                <p:nvPr/>
              </p:nvSpPr>
              <p:spPr bwMode="auto">
                <a:xfrm>
                  <a:off x="28841871" y="665153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8B502F27-387A-421C-8A9B-1C12A02E1CA3}"/>
                    </a:ext>
                  </a:extLst>
                </p:cNvPr>
                <p:cNvSpPr/>
                <p:nvPr/>
              </p:nvSpPr>
              <p:spPr bwMode="auto">
                <a:xfrm>
                  <a:off x="28217499" y="814506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886DE2ED-4447-46B9-9175-2FC82164CDE5}"/>
                    </a:ext>
                  </a:extLst>
                </p:cNvPr>
                <p:cNvSpPr/>
                <p:nvPr/>
              </p:nvSpPr>
              <p:spPr bwMode="auto">
                <a:xfrm>
                  <a:off x="26585620" y="813442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214CC00-42B4-42B8-BCCF-90A863BE2BB3}"/>
                    </a:ext>
                  </a:extLst>
                </p:cNvPr>
                <p:cNvSpPr/>
                <p:nvPr/>
              </p:nvSpPr>
              <p:spPr bwMode="auto">
                <a:xfrm>
                  <a:off x="25966924" y="7202121"/>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A34F4FF2-9E4E-4296-B5C5-4C694FB7583D}"/>
                    </a:ext>
                  </a:extLst>
                </p:cNvPr>
                <p:cNvSpPr/>
                <p:nvPr/>
              </p:nvSpPr>
              <p:spPr bwMode="auto">
                <a:xfrm>
                  <a:off x="26196570" y="609930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4A45453F-1EBC-4E5E-ABF0-65188A784DBD}"/>
                    </a:ext>
                  </a:extLst>
                </p:cNvPr>
                <p:cNvSpPr/>
                <p:nvPr/>
              </p:nvSpPr>
              <p:spPr bwMode="auto">
                <a:xfrm>
                  <a:off x="26600992" y="56972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FD12AB42-2C13-4C0D-850E-22EFC495393C}"/>
                    </a:ext>
                  </a:extLst>
                </p:cNvPr>
                <p:cNvSpPr/>
                <p:nvPr/>
              </p:nvSpPr>
              <p:spPr bwMode="auto">
                <a:xfrm>
                  <a:off x="27412675" y="571344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E3C76A8-E713-4612-92C5-67149A121F71}"/>
                    </a:ext>
                  </a:extLst>
                </p:cNvPr>
                <p:cNvSpPr/>
                <p:nvPr/>
              </p:nvSpPr>
              <p:spPr bwMode="auto">
                <a:xfrm rot="1364879">
                  <a:off x="27880448" y="580754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4B50A0E1-801C-448C-A0E4-DED1280B21C0}"/>
                    </a:ext>
                  </a:extLst>
                </p:cNvPr>
                <p:cNvSpPr/>
                <p:nvPr/>
              </p:nvSpPr>
              <p:spPr bwMode="auto">
                <a:xfrm rot="2713327">
                  <a:off x="28271386" y="6071086"/>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D1C04AB7-7EB4-42AD-ABB0-41781BAA4FBA}"/>
                    </a:ext>
                  </a:extLst>
                </p:cNvPr>
                <p:cNvSpPr/>
                <p:nvPr/>
              </p:nvSpPr>
              <p:spPr bwMode="auto">
                <a:xfrm rot="4074515">
                  <a:off x="28533583" y="64682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Oval 147">
                  <a:extLst>
                    <a:ext uri="{FF2B5EF4-FFF2-40B4-BE49-F238E27FC236}">
                      <a16:creationId xmlns:a16="http://schemas.microsoft.com/office/drawing/2014/main" id="{443F31E7-0D98-43A0-AC2A-0EBCFB54B8DF}"/>
                    </a:ext>
                  </a:extLst>
                </p:cNvPr>
                <p:cNvSpPr/>
                <p:nvPr/>
              </p:nvSpPr>
              <p:spPr bwMode="auto">
                <a:xfrm rot="5400000">
                  <a:off x="28622395"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E8FF305-9E90-4C82-B25F-DC8445E9B37F}"/>
                    </a:ext>
                  </a:extLst>
                </p:cNvPr>
                <p:cNvSpPr/>
                <p:nvPr/>
              </p:nvSpPr>
              <p:spPr bwMode="auto">
                <a:xfrm rot="9482925">
                  <a:off x="26960462" y="5801146"/>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4BE55FA-33DE-420A-B342-187839092808}"/>
                    </a:ext>
                  </a:extLst>
                </p:cNvPr>
                <p:cNvSpPr/>
                <p:nvPr/>
              </p:nvSpPr>
              <p:spPr bwMode="auto">
                <a:xfrm rot="6769720">
                  <a:off x="28527636" y="7392507"/>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DF2CB431-1E9C-4D6A-B690-0165581A9C8B}"/>
                    </a:ext>
                  </a:extLst>
                </p:cNvPr>
                <p:cNvSpPr/>
                <p:nvPr/>
              </p:nvSpPr>
              <p:spPr bwMode="auto">
                <a:xfrm rot="8148786">
                  <a:off x="28255851" y="7790616"/>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CEF2D606-860F-45C3-96C0-3754EC113CA2}"/>
                    </a:ext>
                  </a:extLst>
                </p:cNvPr>
                <p:cNvSpPr/>
                <p:nvPr/>
              </p:nvSpPr>
              <p:spPr bwMode="auto">
                <a:xfrm>
                  <a:off x="27412675" y="8132884"/>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Oval 152">
                  <a:extLst>
                    <a:ext uri="{FF2B5EF4-FFF2-40B4-BE49-F238E27FC236}">
                      <a16:creationId xmlns:a16="http://schemas.microsoft.com/office/drawing/2014/main" id="{D442B88B-785B-4294-82F4-C9626220849E}"/>
                    </a:ext>
                  </a:extLst>
                </p:cNvPr>
                <p:cNvSpPr/>
                <p:nvPr/>
              </p:nvSpPr>
              <p:spPr bwMode="auto">
                <a:xfrm rot="1364879">
                  <a:off x="26944903" y="8038785"/>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Oval 153">
                  <a:extLst>
                    <a:ext uri="{FF2B5EF4-FFF2-40B4-BE49-F238E27FC236}">
                      <a16:creationId xmlns:a16="http://schemas.microsoft.com/office/drawing/2014/main" id="{C187B9CC-B1EF-4448-B5B4-9507899CCAA9}"/>
                    </a:ext>
                  </a:extLst>
                </p:cNvPr>
                <p:cNvSpPr/>
                <p:nvPr/>
              </p:nvSpPr>
              <p:spPr bwMode="auto">
                <a:xfrm rot="2713327">
                  <a:off x="26553965" y="7775243"/>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836521DE-4170-4F5B-BE35-11AC27685DE1}"/>
                    </a:ext>
                  </a:extLst>
                </p:cNvPr>
                <p:cNvSpPr/>
                <p:nvPr/>
              </p:nvSpPr>
              <p:spPr bwMode="auto">
                <a:xfrm>
                  <a:off x="26184745" y="772645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Oval 155">
                  <a:extLst>
                    <a:ext uri="{FF2B5EF4-FFF2-40B4-BE49-F238E27FC236}">
                      <a16:creationId xmlns:a16="http://schemas.microsoft.com/office/drawing/2014/main" id="{7C8DB0C0-6A36-4643-A134-43712E422BEE}"/>
                    </a:ext>
                  </a:extLst>
                </p:cNvPr>
                <p:cNvSpPr/>
                <p:nvPr/>
              </p:nvSpPr>
              <p:spPr bwMode="auto">
                <a:xfrm rot="4074515">
                  <a:off x="26291767" y="73781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Oval 156">
                  <a:extLst>
                    <a:ext uri="{FF2B5EF4-FFF2-40B4-BE49-F238E27FC236}">
                      <a16:creationId xmlns:a16="http://schemas.microsoft.com/office/drawing/2014/main" id="{9B8857A6-7B52-4284-A11E-02E75F65CFE3}"/>
                    </a:ext>
                  </a:extLst>
                </p:cNvPr>
                <p:cNvSpPr/>
                <p:nvPr/>
              </p:nvSpPr>
              <p:spPr bwMode="auto">
                <a:xfrm rot="5400000">
                  <a:off x="26202956" y="6923165"/>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3AED3239-178E-4B87-820A-76B0A57F642B}"/>
                    </a:ext>
                  </a:extLst>
                </p:cNvPr>
                <p:cNvSpPr/>
                <p:nvPr/>
              </p:nvSpPr>
              <p:spPr bwMode="auto">
                <a:xfrm rot="6769720">
                  <a:off x="26297714" y="6453822"/>
                  <a:ext cx="126496"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5C01D78B-8850-4B68-B4DE-F8A39D412F9F}"/>
                    </a:ext>
                  </a:extLst>
                </p:cNvPr>
                <p:cNvSpPr/>
                <p:nvPr/>
              </p:nvSpPr>
              <p:spPr bwMode="auto">
                <a:xfrm>
                  <a:off x="25969525" y="6624342"/>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Oval 159">
                  <a:extLst>
                    <a:ext uri="{FF2B5EF4-FFF2-40B4-BE49-F238E27FC236}">
                      <a16:creationId xmlns:a16="http://schemas.microsoft.com/office/drawing/2014/main" id="{45AA4D55-7CB0-460F-A3EF-0A36738DC751}"/>
                    </a:ext>
                  </a:extLst>
                </p:cNvPr>
                <p:cNvSpPr/>
                <p:nvPr/>
              </p:nvSpPr>
              <p:spPr bwMode="auto">
                <a:xfrm rot="8148786">
                  <a:off x="26569500" y="6055709"/>
                  <a:ext cx="126496" cy="1264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EB390233-0C47-45E1-9BB9-A56170D8BEA7}"/>
                    </a:ext>
                  </a:extLst>
                </p:cNvPr>
                <p:cNvSpPr/>
                <p:nvPr/>
              </p:nvSpPr>
              <p:spPr bwMode="auto">
                <a:xfrm>
                  <a:off x="28845418" y="722269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54F431E8-3181-49D6-B6B7-A8B3BD2F5BF9}"/>
                    </a:ext>
                  </a:extLst>
                </p:cNvPr>
                <p:cNvSpPr/>
                <p:nvPr/>
              </p:nvSpPr>
              <p:spPr bwMode="auto">
                <a:xfrm>
                  <a:off x="28625469" y="7747737"/>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9919E724-D74D-4CD1-9196-6D1DF295E933}"/>
                    </a:ext>
                  </a:extLst>
                </p:cNvPr>
                <p:cNvSpPr/>
                <p:nvPr/>
              </p:nvSpPr>
              <p:spPr bwMode="auto">
                <a:xfrm rot="9482925">
                  <a:off x="27864891" y="8045181"/>
                  <a:ext cx="126494"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D0EF1E40-7F88-46C7-A5F2-DD5CF7B87EDE}"/>
                    </a:ext>
                  </a:extLst>
                </p:cNvPr>
                <p:cNvSpPr/>
                <p:nvPr/>
              </p:nvSpPr>
              <p:spPr bwMode="auto">
                <a:xfrm>
                  <a:off x="27722199" y="83577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32B6DA5A-0E0E-44A5-8C85-E62D85DA38E1}"/>
                    </a:ext>
                  </a:extLst>
                </p:cNvPr>
                <p:cNvSpPr/>
                <p:nvPr/>
              </p:nvSpPr>
              <p:spPr bwMode="auto">
                <a:xfrm>
                  <a:off x="27099899" y="8370489"/>
                  <a:ext cx="126498" cy="1264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loud 4" descr="cloud">
                <a:extLst>
                  <a:ext uri="{FF2B5EF4-FFF2-40B4-BE49-F238E27FC236}">
                    <a16:creationId xmlns:a16="http://schemas.microsoft.com/office/drawing/2014/main" id="{341035EF-D27A-44D6-AA12-FA7913CFB723}"/>
                  </a:ext>
                </a:extLst>
              </p:cNvPr>
              <p:cNvSpPr>
                <a:spLocks noChangeAspect="1"/>
              </p:cNvSpPr>
              <p:nvPr/>
            </p:nvSpPr>
            <p:spPr bwMode="auto">
              <a:xfrm flipV="1">
                <a:off x="9071335" y="4574486"/>
                <a:ext cx="358416" cy="1975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72" name="Rectangle 171">
              <a:extLst>
                <a:ext uri="{FF2B5EF4-FFF2-40B4-BE49-F238E27FC236}">
                  <a16:creationId xmlns:a16="http://schemas.microsoft.com/office/drawing/2014/main" id="{B0211C65-96A4-4865-967A-50BD8C4602A2}"/>
                </a:ext>
              </a:extLst>
            </p:cNvPr>
            <p:cNvSpPr/>
            <p:nvPr/>
          </p:nvSpPr>
          <p:spPr bwMode="auto">
            <a:xfrm>
              <a:off x="8145905" y="5660195"/>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Extend to the edge</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IoT</a:t>
              </a:r>
            </a:p>
          </p:txBody>
        </p:sp>
        <p:sp>
          <p:nvSpPr>
            <p:cNvPr id="380" name="Rectangle 379">
              <a:extLst>
                <a:ext uri="{FF2B5EF4-FFF2-40B4-BE49-F238E27FC236}">
                  <a16:creationId xmlns:a16="http://schemas.microsoft.com/office/drawing/2014/main" id="{E328AEC2-45C0-4898-BE2D-CB5B4E13A518}"/>
                </a:ext>
              </a:extLst>
            </p:cNvPr>
            <p:cNvSpPr/>
            <p:nvPr/>
          </p:nvSpPr>
          <p:spPr bwMode="auto">
            <a:xfrm>
              <a:off x="1805815" y="5625643"/>
              <a:ext cx="2240280"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Bring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ervices</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to any infrastructure</a:t>
              </a:r>
              <a:endPar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grpSp>
          <p:nvGrpSpPr>
            <p:cNvPr id="383" name="Group 382">
              <a:extLst>
                <a:ext uri="{FF2B5EF4-FFF2-40B4-BE49-F238E27FC236}">
                  <a16:creationId xmlns:a16="http://schemas.microsoft.com/office/drawing/2014/main" id="{7244EA8D-F6E7-481F-8BB2-888A747B88F2}"/>
                </a:ext>
              </a:extLst>
            </p:cNvPr>
            <p:cNvGrpSpPr/>
            <p:nvPr/>
          </p:nvGrpSpPr>
          <p:grpSpPr>
            <a:xfrm>
              <a:off x="2401647" y="4213436"/>
              <a:ext cx="1048616" cy="384176"/>
              <a:chOff x="2473921" y="3991710"/>
              <a:chExt cx="1048616" cy="384176"/>
            </a:xfrm>
          </p:grpSpPr>
          <p:grpSp>
            <p:nvGrpSpPr>
              <p:cNvPr id="384" name="server 2" descr="server">
                <a:extLst>
                  <a:ext uri="{FF2B5EF4-FFF2-40B4-BE49-F238E27FC236}">
                    <a16:creationId xmlns:a16="http://schemas.microsoft.com/office/drawing/2014/main" id="{61A21765-5F93-49C9-B36C-DC87A21C00C0}"/>
                  </a:ext>
                </a:extLst>
              </p:cNvPr>
              <p:cNvGrpSpPr>
                <a:grpSpLocks noChangeAspect="1"/>
              </p:cNvGrpSpPr>
              <p:nvPr/>
            </p:nvGrpSpPr>
            <p:grpSpPr bwMode="auto">
              <a:xfrm>
                <a:off x="2473921" y="3991710"/>
                <a:ext cx="431460" cy="384176"/>
                <a:chOff x="1608" y="1359"/>
                <a:chExt cx="292" cy="260"/>
              </a:xfrm>
            </p:grpSpPr>
            <p:sp>
              <p:nvSpPr>
                <p:cNvPr id="387" name="AutoShape 11">
                  <a:extLst>
                    <a:ext uri="{FF2B5EF4-FFF2-40B4-BE49-F238E27FC236}">
                      <a16:creationId xmlns:a16="http://schemas.microsoft.com/office/drawing/2014/main" id="{6F6645CE-9CA5-494A-84CB-6F507A48A1C0}"/>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13">
                  <a:extLst>
                    <a:ext uri="{FF2B5EF4-FFF2-40B4-BE49-F238E27FC236}">
                      <a16:creationId xmlns:a16="http://schemas.microsoft.com/office/drawing/2014/main" id="{AD02E1EA-8E5E-46D8-A12D-CC696C283D0E}"/>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Rectangle 14">
                  <a:extLst>
                    <a:ext uri="{FF2B5EF4-FFF2-40B4-BE49-F238E27FC236}">
                      <a16:creationId xmlns:a16="http://schemas.microsoft.com/office/drawing/2014/main" id="{6668DEBE-2812-4700-A3BA-68326AA7AFE2}"/>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Rectangle 15">
                  <a:extLst>
                    <a:ext uri="{FF2B5EF4-FFF2-40B4-BE49-F238E27FC236}">
                      <a16:creationId xmlns:a16="http://schemas.microsoft.com/office/drawing/2014/main" id="{54969716-4E0A-48D9-878D-67535B09BD5C}"/>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Rectangle 16">
                  <a:extLst>
                    <a:ext uri="{FF2B5EF4-FFF2-40B4-BE49-F238E27FC236}">
                      <a16:creationId xmlns:a16="http://schemas.microsoft.com/office/drawing/2014/main" id="{9927E2B1-545C-411F-B6DD-2F91009C3895}"/>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17">
                  <a:extLst>
                    <a:ext uri="{FF2B5EF4-FFF2-40B4-BE49-F238E27FC236}">
                      <a16:creationId xmlns:a16="http://schemas.microsoft.com/office/drawing/2014/main" id="{96756B75-E151-4C15-8AA0-2F142D383AB5}"/>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18">
                  <a:extLst>
                    <a:ext uri="{FF2B5EF4-FFF2-40B4-BE49-F238E27FC236}">
                      <a16:creationId xmlns:a16="http://schemas.microsoft.com/office/drawing/2014/main" id="{0D4C7872-BFDF-410B-86B9-A61870B5F903}"/>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19">
                  <a:extLst>
                    <a:ext uri="{FF2B5EF4-FFF2-40B4-BE49-F238E27FC236}">
                      <a16:creationId xmlns:a16="http://schemas.microsoft.com/office/drawing/2014/main" id="{66A42DA1-1CB4-42C9-A71A-A420BCE4323D}"/>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0">
                  <a:extLst>
                    <a:ext uri="{FF2B5EF4-FFF2-40B4-BE49-F238E27FC236}">
                      <a16:creationId xmlns:a16="http://schemas.microsoft.com/office/drawing/2014/main" id="{B787E011-5F88-4478-8165-6D1B54A222F7}"/>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1">
                  <a:extLst>
                    <a:ext uri="{FF2B5EF4-FFF2-40B4-BE49-F238E27FC236}">
                      <a16:creationId xmlns:a16="http://schemas.microsoft.com/office/drawing/2014/main" id="{AABB395A-DB6A-44E6-AD1A-BE4B077B2E21}"/>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Rectangle 22">
                  <a:extLst>
                    <a:ext uri="{FF2B5EF4-FFF2-40B4-BE49-F238E27FC236}">
                      <a16:creationId xmlns:a16="http://schemas.microsoft.com/office/drawing/2014/main" id="{61EB48F9-4329-44CE-9E40-A2106301FDF6}"/>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Rectangle 23">
                  <a:extLst>
                    <a:ext uri="{FF2B5EF4-FFF2-40B4-BE49-F238E27FC236}">
                      <a16:creationId xmlns:a16="http://schemas.microsoft.com/office/drawing/2014/main" id="{66DD23BA-0AA4-4767-A360-E7B0670FE22F}"/>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Rectangle 24">
                  <a:extLst>
                    <a:ext uri="{FF2B5EF4-FFF2-40B4-BE49-F238E27FC236}">
                      <a16:creationId xmlns:a16="http://schemas.microsoft.com/office/drawing/2014/main" id="{E5F4600E-376A-4FB3-A6F0-BE63F4996709}"/>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385" name="Straight Connector 384">
                <a:extLst>
                  <a:ext uri="{FF2B5EF4-FFF2-40B4-BE49-F238E27FC236}">
                    <a16:creationId xmlns:a16="http://schemas.microsoft.com/office/drawing/2014/main" id="{0FBB072C-65D0-4AF9-B99A-C6D2FADF95BF}"/>
                  </a:ext>
                </a:extLst>
              </p:cNvPr>
              <p:cNvCxnSpPr/>
              <p:nvPr/>
            </p:nvCxnSpPr>
            <p:spPr>
              <a:xfrm>
                <a:off x="2924175" y="4193382"/>
                <a:ext cx="407194" cy="0"/>
              </a:xfrm>
              <a:prstGeom prst="line">
                <a:avLst/>
              </a:prstGeom>
              <a:noFill/>
              <a:ln w="12700" cap="rnd">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86" name="cloud 4" descr="cloud">
                <a:extLst>
                  <a:ext uri="{FF2B5EF4-FFF2-40B4-BE49-F238E27FC236}">
                    <a16:creationId xmlns:a16="http://schemas.microsoft.com/office/drawing/2014/main" id="{37261260-4137-40C1-908E-E012C74F03E1}"/>
                  </a:ext>
                </a:extLst>
              </p:cNvPr>
              <p:cNvSpPr>
                <a:spLocks noChangeAspect="1"/>
              </p:cNvSpPr>
              <p:nvPr/>
            </p:nvSpPr>
            <p:spPr bwMode="auto">
              <a:xfrm flipV="1">
                <a:off x="3152490" y="4072052"/>
                <a:ext cx="370047" cy="19839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05" name="Rectangle 404">
              <a:extLst>
                <a:ext uri="{FF2B5EF4-FFF2-40B4-BE49-F238E27FC236}">
                  <a16:creationId xmlns:a16="http://schemas.microsoft.com/office/drawing/2014/main" id="{D3827B4B-C02A-40B0-9D18-A3BE2D931C01}"/>
                </a:ext>
              </a:extLst>
            </p:cNvPr>
            <p:cNvSpPr/>
            <p:nvPr/>
          </p:nvSpPr>
          <p:spPr bwMode="auto">
            <a:xfrm>
              <a:off x="4974846" y="5631318"/>
              <a:ext cx="2242309" cy="536575"/>
            </a:xfrm>
            <a:prstGeom prst="rect">
              <a:avLst/>
            </a:prstGeom>
            <a:no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Modernize datacenters with </a:t>
              </a:r>
              <a:r>
                <a:rPr kumimoji="0" lang="en-US" sz="1400" b="0" i="0" u="none" strike="noStrike" kern="1200" cap="none" spc="0" normalizeH="0" baseline="0" noProof="0" dirty="0">
                  <a:ln>
                    <a:noFill/>
                  </a:ln>
                  <a:solidFill>
                    <a:srgbClr val="50E6FF"/>
                  </a:solidFill>
                  <a:effectLst/>
                  <a:uLnTx/>
                  <a:uFillTx/>
                  <a:latin typeface="Segoe UI Semibold"/>
                  <a:ea typeface="+mn-ea"/>
                  <a:cs typeface="Segoe UI" pitchFamily="34" charset="0"/>
                </a:rPr>
                <a:t>Azure Stack</a:t>
              </a:r>
              <a:endParaRPr kumimoji="0" lang="en-US" sz="14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a:p>
              <a:pPr marL="0" marR="0" lvl="0" indent="0" algn="ctr" defTabSz="932472" rtl="0" eaLnBrk="1" fontAlgn="base" latinLnBrk="0" hangingPunct="1">
                <a:lnSpc>
                  <a:spcPct val="90000"/>
                </a:lnSpc>
                <a:spcBef>
                  <a:spcPct val="0"/>
                </a:spcBef>
                <a:spcAft>
                  <a:spcPts val="1200"/>
                </a:spcAft>
                <a:buClrTx/>
                <a:buSzTx/>
                <a:buFontTx/>
                <a:buNone/>
                <a:tabLst/>
                <a:defRPr/>
              </a:pPr>
              <a:endParaRPr kumimoji="0" lang="en-US" sz="1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06" name="Group 405">
              <a:extLst>
                <a:ext uri="{FF2B5EF4-FFF2-40B4-BE49-F238E27FC236}">
                  <a16:creationId xmlns:a16="http://schemas.microsoft.com/office/drawing/2014/main" id="{7D23740F-E4FC-4DD3-9F44-7AE26C3EFC8E}"/>
                </a:ext>
              </a:extLst>
            </p:cNvPr>
            <p:cNvGrpSpPr/>
            <p:nvPr/>
          </p:nvGrpSpPr>
          <p:grpSpPr>
            <a:xfrm>
              <a:off x="5490186" y="4582340"/>
              <a:ext cx="1211629" cy="780197"/>
              <a:chOff x="5644799" y="3773766"/>
              <a:chExt cx="989692" cy="637287"/>
            </a:xfrm>
          </p:grpSpPr>
          <p:sp>
            <p:nvSpPr>
              <p:cNvPr id="407" name="Freeform: Shape 406">
                <a:extLst>
                  <a:ext uri="{FF2B5EF4-FFF2-40B4-BE49-F238E27FC236}">
                    <a16:creationId xmlns:a16="http://schemas.microsoft.com/office/drawing/2014/main" id="{9A3475C7-DCA4-4D06-9808-1FCF353597F5}"/>
                  </a:ext>
                </a:extLst>
              </p:cNvPr>
              <p:cNvSpPr/>
              <p:nvPr/>
            </p:nvSpPr>
            <p:spPr>
              <a:xfrm>
                <a:off x="5644799" y="4078094"/>
                <a:ext cx="148220" cy="296439"/>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Shape 407">
                <a:extLst>
                  <a:ext uri="{FF2B5EF4-FFF2-40B4-BE49-F238E27FC236}">
                    <a16:creationId xmlns:a16="http://schemas.microsoft.com/office/drawing/2014/main" id="{CB01299A-18F2-4BE6-A767-739286C1BEA1}"/>
                  </a:ext>
                </a:extLst>
              </p:cNvPr>
              <p:cNvSpPr/>
              <p:nvPr/>
            </p:nvSpPr>
            <p:spPr>
              <a:xfrm>
                <a:off x="5704399" y="4326478"/>
                <a:ext cx="37054" cy="49407"/>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Shape 408">
                <a:extLst>
                  <a:ext uri="{FF2B5EF4-FFF2-40B4-BE49-F238E27FC236}">
                    <a16:creationId xmlns:a16="http://schemas.microsoft.com/office/drawing/2014/main" id="{11DD8ABE-3428-4ED5-BE73-CAF9F4FA3EAA}"/>
                  </a:ext>
                </a:extLst>
              </p:cNvPr>
              <p:cNvSpPr/>
              <p:nvPr/>
            </p:nvSpPr>
            <p:spPr>
              <a:xfrm>
                <a:off x="5774352" y="3897614"/>
                <a:ext cx="238052" cy="476100"/>
              </a:xfrm>
              <a:custGeom>
                <a:avLst/>
                <a:gdLst>
                  <a:gd name="connsiteX0" fmla="*/ 1058 w 177545"/>
                  <a:gd name="connsiteY0" fmla="*/ 356147 h 355089"/>
                  <a:gd name="connsiteX1" fmla="*/ 178604 w 177545"/>
                  <a:gd name="connsiteY1" fmla="*/ 356147 h 355089"/>
                  <a:gd name="connsiteX2" fmla="*/ 178604 w 177545"/>
                  <a:gd name="connsiteY2" fmla="*/ 1058 h 355089"/>
                  <a:gd name="connsiteX3" fmla="*/ 1058 w 177545"/>
                  <a:gd name="connsiteY3" fmla="*/ 1058 h 355089"/>
                  <a:gd name="connsiteX4" fmla="*/ 1058 w 177545"/>
                  <a:gd name="connsiteY4" fmla="*/ 356147 h 355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45" h="355089">
                    <a:moveTo>
                      <a:pt x="1058" y="356147"/>
                    </a:moveTo>
                    <a:lnTo>
                      <a:pt x="178604" y="356147"/>
                    </a:lnTo>
                    <a:lnTo>
                      <a:pt x="178604" y="1058"/>
                    </a:lnTo>
                    <a:lnTo>
                      <a:pt x="1058" y="1058"/>
                    </a:lnTo>
                    <a:lnTo>
                      <a:pt x="1058" y="356147"/>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06428D82-6C6B-4758-85DD-0D476F5F0156}"/>
                  </a:ext>
                </a:extLst>
              </p:cNvPr>
              <p:cNvSpPr/>
              <p:nvPr/>
            </p:nvSpPr>
            <p:spPr>
              <a:xfrm>
                <a:off x="5856123" y="4296534"/>
                <a:ext cx="59512" cy="79351"/>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AutoShape 163">
                <a:extLst>
                  <a:ext uri="{FF2B5EF4-FFF2-40B4-BE49-F238E27FC236}">
                    <a16:creationId xmlns:a16="http://schemas.microsoft.com/office/drawing/2014/main" id="{8BA20517-FF42-4444-9324-8AECF661C7EA}"/>
                  </a:ext>
                </a:extLst>
              </p:cNvPr>
              <p:cNvSpPr>
                <a:spLocks noChangeAspect="1" noChangeArrowheads="1" noTextEdit="1"/>
              </p:cNvSpPr>
              <p:nvPr/>
            </p:nvSpPr>
            <p:spPr bwMode="auto">
              <a:xfrm>
                <a:off x="5945082" y="3773766"/>
                <a:ext cx="602118" cy="60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Rectangle 168">
                <a:extLst>
                  <a:ext uri="{FF2B5EF4-FFF2-40B4-BE49-F238E27FC236}">
                    <a16:creationId xmlns:a16="http://schemas.microsoft.com/office/drawing/2014/main" id="{CE98DFB2-0BEE-415E-A11C-5C0344F23A1F}"/>
                  </a:ext>
                </a:extLst>
              </p:cNvPr>
              <p:cNvSpPr>
                <a:spLocks noChangeArrowheads="1"/>
              </p:cNvSpPr>
              <p:nvPr/>
            </p:nvSpPr>
            <p:spPr bwMode="auto">
              <a:xfrm>
                <a:off x="5945082" y="3773766"/>
                <a:ext cx="301060" cy="60211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169">
                <a:extLst>
                  <a:ext uri="{FF2B5EF4-FFF2-40B4-BE49-F238E27FC236}">
                    <a16:creationId xmlns:a16="http://schemas.microsoft.com/office/drawing/2014/main" id="{7B873AA1-5EEF-4476-979F-BC03B9A00A17}"/>
                  </a:ext>
                </a:extLst>
              </p:cNvPr>
              <p:cNvSpPr>
                <a:spLocks noChangeArrowheads="1"/>
              </p:cNvSpPr>
              <p:nvPr/>
            </p:nvSpPr>
            <p:spPr bwMode="auto">
              <a:xfrm>
                <a:off x="6246141" y="3926681"/>
                <a:ext cx="301060" cy="449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170">
                <a:extLst>
                  <a:ext uri="{FF2B5EF4-FFF2-40B4-BE49-F238E27FC236}">
                    <a16:creationId xmlns:a16="http://schemas.microsoft.com/office/drawing/2014/main" id="{6512E102-5C1E-4764-88DF-FD49486FCDB8}"/>
                  </a:ext>
                </a:extLst>
              </p:cNvPr>
              <p:cNvSpPr>
                <a:spLocks noChangeArrowheads="1"/>
              </p:cNvSpPr>
              <p:nvPr/>
            </p:nvSpPr>
            <p:spPr bwMode="auto">
              <a:xfrm>
                <a:off x="6019763"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Rectangle 171">
                <a:extLst>
                  <a:ext uri="{FF2B5EF4-FFF2-40B4-BE49-F238E27FC236}">
                    <a16:creationId xmlns:a16="http://schemas.microsoft.com/office/drawing/2014/main" id="{5EE4BEF6-0D87-45E4-ABE4-A6386A1DFBE8}"/>
                  </a:ext>
                </a:extLst>
              </p:cNvPr>
              <p:cNvSpPr>
                <a:spLocks noChangeArrowheads="1"/>
              </p:cNvSpPr>
              <p:nvPr/>
            </p:nvSpPr>
            <p:spPr bwMode="auto">
              <a:xfrm>
                <a:off x="6115449" y="3867118"/>
                <a:ext cx="56012" cy="583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Rectangle 172">
                <a:extLst>
                  <a:ext uri="{FF2B5EF4-FFF2-40B4-BE49-F238E27FC236}">
                    <a16:creationId xmlns:a16="http://schemas.microsoft.com/office/drawing/2014/main" id="{364DCE48-03A6-4453-9D61-026222067203}"/>
                  </a:ext>
                </a:extLst>
              </p:cNvPr>
              <p:cNvSpPr>
                <a:spLocks noChangeArrowheads="1"/>
              </p:cNvSpPr>
              <p:nvPr/>
            </p:nvSpPr>
            <p:spPr bwMode="auto">
              <a:xfrm>
                <a:off x="6019763"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Rectangle 173">
                <a:extLst>
                  <a:ext uri="{FF2B5EF4-FFF2-40B4-BE49-F238E27FC236}">
                    <a16:creationId xmlns:a16="http://schemas.microsoft.com/office/drawing/2014/main" id="{4AC34AF2-2897-430A-A999-9533F79E7757}"/>
                  </a:ext>
                </a:extLst>
              </p:cNvPr>
              <p:cNvSpPr>
                <a:spLocks noChangeArrowheads="1"/>
              </p:cNvSpPr>
              <p:nvPr/>
            </p:nvSpPr>
            <p:spPr bwMode="auto">
              <a:xfrm>
                <a:off x="6115449" y="3962803"/>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Rectangle 174">
                <a:extLst>
                  <a:ext uri="{FF2B5EF4-FFF2-40B4-BE49-F238E27FC236}">
                    <a16:creationId xmlns:a16="http://schemas.microsoft.com/office/drawing/2014/main" id="{1AB67CD8-9C30-490F-AC37-47093B829172}"/>
                  </a:ext>
                </a:extLst>
              </p:cNvPr>
              <p:cNvSpPr>
                <a:spLocks noChangeArrowheads="1"/>
              </p:cNvSpPr>
              <p:nvPr/>
            </p:nvSpPr>
            <p:spPr bwMode="auto">
              <a:xfrm>
                <a:off x="6019763"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9" name="Rectangle 175">
                <a:extLst>
                  <a:ext uri="{FF2B5EF4-FFF2-40B4-BE49-F238E27FC236}">
                    <a16:creationId xmlns:a16="http://schemas.microsoft.com/office/drawing/2014/main" id="{5F9076DA-5808-4654-A07E-9D62B347FBFC}"/>
                  </a:ext>
                </a:extLst>
              </p:cNvPr>
              <p:cNvSpPr>
                <a:spLocks noChangeArrowheads="1"/>
              </p:cNvSpPr>
              <p:nvPr/>
            </p:nvSpPr>
            <p:spPr bwMode="auto">
              <a:xfrm>
                <a:off x="6115449" y="4056155"/>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0" name="Rectangle 176">
                <a:extLst>
                  <a:ext uri="{FF2B5EF4-FFF2-40B4-BE49-F238E27FC236}">
                    <a16:creationId xmlns:a16="http://schemas.microsoft.com/office/drawing/2014/main" id="{9F2CB267-073B-4D7E-BCD6-5B42E6D107B7}"/>
                  </a:ext>
                </a:extLst>
              </p:cNvPr>
              <p:cNvSpPr>
                <a:spLocks noChangeArrowheads="1"/>
              </p:cNvSpPr>
              <p:nvPr/>
            </p:nvSpPr>
            <p:spPr bwMode="auto">
              <a:xfrm>
                <a:off x="6019763"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Rectangle 177">
                <a:extLst>
                  <a:ext uri="{FF2B5EF4-FFF2-40B4-BE49-F238E27FC236}">
                    <a16:creationId xmlns:a16="http://schemas.microsoft.com/office/drawing/2014/main" id="{B995FBB2-545C-43A4-BBD6-22E449F8C0A4}"/>
                  </a:ext>
                </a:extLst>
              </p:cNvPr>
              <p:cNvSpPr>
                <a:spLocks noChangeArrowheads="1"/>
              </p:cNvSpPr>
              <p:nvPr/>
            </p:nvSpPr>
            <p:spPr bwMode="auto">
              <a:xfrm>
                <a:off x="6115449" y="4149508"/>
                <a:ext cx="56012" cy="56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2" name="Rectangle 178">
                <a:extLst>
                  <a:ext uri="{FF2B5EF4-FFF2-40B4-BE49-F238E27FC236}">
                    <a16:creationId xmlns:a16="http://schemas.microsoft.com/office/drawing/2014/main" id="{275104C6-C9FC-4D21-857B-A3A7E867F3AA}"/>
                  </a:ext>
                </a:extLst>
              </p:cNvPr>
              <p:cNvSpPr>
                <a:spLocks noChangeArrowheads="1"/>
              </p:cNvSpPr>
              <p:nvPr/>
            </p:nvSpPr>
            <p:spPr bwMode="auto">
              <a:xfrm>
                <a:off x="6057104" y="4301203"/>
                <a:ext cx="77014" cy="746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3" name="Rectangle 179">
                <a:extLst>
                  <a:ext uri="{FF2B5EF4-FFF2-40B4-BE49-F238E27FC236}">
                    <a16:creationId xmlns:a16="http://schemas.microsoft.com/office/drawing/2014/main" id="{8F68B1D5-5803-4D30-9671-B80270362C24}"/>
                  </a:ext>
                </a:extLst>
              </p:cNvPr>
              <p:cNvSpPr>
                <a:spLocks noChangeArrowheads="1"/>
              </p:cNvSpPr>
              <p:nvPr/>
            </p:nvSpPr>
            <p:spPr bwMode="auto">
              <a:xfrm>
                <a:off x="6320823"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4" name="Rectangle 180">
                <a:extLst>
                  <a:ext uri="{FF2B5EF4-FFF2-40B4-BE49-F238E27FC236}">
                    <a16:creationId xmlns:a16="http://schemas.microsoft.com/office/drawing/2014/main" id="{113DAE21-4FA1-43DE-B84D-A930916A823A}"/>
                  </a:ext>
                </a:extLst>
              </p:cNvPr>
              <p:cNvSpPr>
                <a:spLocks noChangeArrowheads="1"/>
              </p:cNvSpPr>
              <p:nvPr/>
            </p:nvSpPr>
            <p:spPr bwMode="auto">
              <a:xfrm>
                <a:off x="6416508" y="4004252"/>
                <a:ext cx="56012" cy="560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5" name="Freeform: Shape 424">
                <a:extLst>
                  <a:ext uri="{FF2B5EF4-FFF2-40B4-BE49-F238E27FC236}">
                    <a16:creationId xmlns:a16="http://schemas.microsoft.com/office/drawing/2014/main" id="{E964186C-BB55-44C3-B2E2-0566628FDD6E}"/>
                  </a:ext>
                </a:extLst>
              </p:cNvPr>
              <p:cNvSpPr/>
              <p:nvPr/>
            </p:nvSpPr>
            <p:spPr>
              <a:xfrm>
                <a:off x="5822786" y="4034891"/>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8997995E-2859-4751-846E-7536B044743F}"/>
                  </a:ext>
                </a:extLst>
              </p:cNvPr>
              <p:cNvSpPr/>
              <p:nvPr/>
            </p:nvSpPr>
            <p:spPr>
              <a:xfrm>
                <a:off x="5822786" y="3968216"/>
                <a:ext cx="109311" cy="45719"/>
              </a:xfrm>
              <a:custGeom>
                <a:avLst/>
                <a:gdLst>
                  <a:gd name="connsiteX0" fmla="*/ 1058 w 44386"/>
                  <a:gd name="connsiteY0" fmla="*/ 58620 h 59181"/>
                  <a:gd name="connsiteX1" fmla="*/ 45476 w 44386"/>
                  <a:gd name="connsiteY1" fmla="*/ 58620 h 59181"/>
                  <a:gd name="connsiteX2" fmla="*/ 45476 w 44386"/>
                  <a:gd name="connsiteY2" fmla="*/ 1058 h 59181"/>
                  <a:gd name="connsiteX3" fmla="*/ 1058 w 44386"/>
                  <a:gd name="connsiteY3" fmla="*/ 1058 h 59181"/>
                  <a:gd name="connsiteX4" fmla="*/ 1058 w 44386"/>
                  <a:gd name="connsiteY4" fmla="*/ 58620 h 5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59181">
                    <a:moveTo>
                      <a:pt x="1058" y="58620"/>
                    </a:moveTo>
                    <a:lnTo>
                      <a:pt x="45476" y="58620"/>
                    </a:lnTo>
                    <a:lnTo>
                      <a:pt x="45476" y="1058"/>
                    </a:lnTo>
                    <a:lnTo>
                      <a:pt x="1058" y="1058"/>
                    </a:lnTo>
                    <a:lnTo>
                      <a:pt x="1058" y="5862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27" name="Group 426">
                <a:extLst>
                  <a:ext uri="{FF2B5EF4-FFF2-40B4-BE49-F238E27FC236}">
                    <a16:creationId xmlns:a16="http://schemas.microsoft.com/office/drawing/2014/main" id="{65ED8716-A8C8-43E9-AF52-CBA9B7F311CF}"/>
                  </a:ext>
                </a:extLst>
              </p:cNvPr>
              <p:cNvGrpSpPr/>
              <p:nvPr/>
            </p:nvGrpSpPr>
            <p:grpSpPr>
              <a:xfrm>
                <a:off x="6036797" y="4054049"/>
                <a:ext cx="597694" cy="357004"/>
                <a:chOff x="6391460" y="3679214"/>
                <a:chExt cx="597694" cy="357004"/>
              </a:xfrm>
            </p:grpSpPr>
            <p:grpSp>
              <p:nvGrpSpPr>
                <p:cNvPr id="428" name="Group 427">
                  <a:extLst>
                    <a:ext uri="{FF2B5EF4-FFF2-40B4-BE49-F238E27FC236}">
                      <a16:creationId xmlns:a16="http://schemas.microsoft.com/office/drawing/2014/main" id="{5C671931-9A2D-4469-BF69-1C633E4F0C95}"/>
                    </a:ext>
                  </a:extLst>
                </p:cNvPr>
                <p:cNvGrpSpPr/>
                <p:nvPr/>
              </p:nvGrpSpPr>
              <p:grpSpPr>
                <a:xfrm>
                  <a:off x="6391460" y="3679214"/>
                  <a:ext cx="597694" cy="357004"/>
                  <a:chOff x="6620060" y="3248208"/>
                  <a:chExt cx="597694" cy="357004"/>
                </a:xfrm>
                <a:solidFill>
                  <a:schemeClr val="bg1"/>
                </a:solidFill>
              </p:grpSpPr>
              <p:sp>
                <p:nvSpPr>
                  <p:cNvPr id="430" name="Oval 429">
                    <a:extLst>
                      <a:ext uri="{FF2B5EF4-FFF2-40B4-BE49-F238E27FC236}">
                        <a16:creationId xmlns:a16="http://schemas.microsoft.com/office/drawing/2014/main" id="{6BEB7C09-CF53-45D1-847B-E0B9DA60DCDB}"/>
                      </a:ext>
                    </a:extLst>
                  </p:cNvPr>
                  <p:cNvSpPr/>
                  <p:nvPr/>
                </p:nvSpPr>
                <p:spPr bwMode="auto">
                  <a:xfrm>
                    <a:off x="6936766" y="3324224"/>
                    <a:ext cx="280988" cy="280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B4572DDF-E5DB-41AF-8367-D90A8E2E6AE8}"/>
                      </a:ext>
                    </a:extLst>
                  </p:cNvPr>
                  <p:cNvSpPr/>
                  <p:nvPr/>
                </p:nvSpPr>
                <p:spPr bwMode="auto">
                  <a:xfrm>
                    <a:off x="6689116" y="3341077"/>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8AAAB409-E787-49B6-8650-72BF091598A6}"/>
                      </a:ext>
                    </a:extLst>
                  </p:cNvPr>
                  <p:cNvSpPr/>
                  <p:nvPr/>
                </p:nvSpPr>
                <p:spPr bwMode="auto">
                  <a:xfrm>
                    <a:off x="6762935" y="3248208"/>
                    <a:ext cx="314142" cy="3141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Oval 432">
                    <a:extLst>
                      <a:ext uri="{FF2B5EF4-FFF2-40B4-BE49-F238E27FC236}">
                        <a16:creationId xmlns:a16="http://schemas.microsoft.com/office/drawing/2014/main" id="{52E504CB-40EE-43D8-8FF4-AAB00C541A51}"/>
                      </a:ext>
                    </a:extLst>
                  </p:cNvPr>
                  <p:cNvSpPr/>
                  <p:nvPr/>
                </p:nvSpPr>
                <p:spPr bwMode="auto">
                  <a:xfrm>
                    <a:off x="6620060" y="3414896"/>
                    <a:ext cx="190316" cy="1903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27D3890D-45F5-4B1E-9A23-F689033FD569}"/>
                      </a:ext>
                    </a:extLst>
                  </p:cNvPr>
                  <p:cNvSpPr/>
                  <p:nvPr/>
                </p:nvSpPr>
                <p:spPr bwMode="auto">
                  <a:xfrm>
                    <a:off x="6700838" y="3493762"/>
                    <a:ext cx="402431" cy="1114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9" name="cloud 4" descr="cloud">
                  <a:extLst>
                    <a:ext uri="{FF2B5EF4-FFF2-40B4-BE49-F238E27FC236}">
                      <a16:creationId xmlns:a16="http://schemas.microsoft.com/office/drawing/2014/main" id="{8F955A16-BCFE-457E-9D09-F35992387F15}"/>
                    </a:ext>
                  </a:extLst>
                </p:cNvPr>
                <p:cNvSpPr>
                  <a:spLocks noChangeAspect="1"/>
                </p:cNvSpPr>
                <p:nvPr/>
              </p:nvSpPr>
              <p:spPr bwMode="auto">
                <a:xfrm flipV="1">
                  <a:off x="6434008" y="3725292"/>
                  <a:ext cx="514794" cy="27600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sp>
        <p:nvSpPr>
          <p:cNvPr id="117" name="Rectangle 116">
            <a:extLst>
              <a:ext uri="{FF2B5EF4-FFF2-40B4-BE49-F238E27FC236}">
                <a16:creationId xmlns:a16="http://schemas.microsoft.com/office/drawing/2014/main" id="{16C66B1B-6EAB-4941-A11B-82608253A452}"/>
              </a:ext>
              <a:ext uri="{C183D7F6-B498-43B3-948B-1728B52AA6E4}">
                <adec:decorative xmlns:adec="http://schemas.microsoft.com/office/drawing/2017/decorative" xmlns="" val="1"/>
              </a:ext>
            </a:extLst>
          </p:cNvPr>
          <p:cNvSpPr/>
          <p:nvPr/>
        </p:nvSpPr>
        <p:spPr bwMode="auto">
          <a:xfrm>
            <a:off x="4975975" y="2168115"/>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96DC803-3575-4377-9607-E264CFEE614A}"/>
              </a:ext>
              <a:ext uri="{C183D7F6-B498-43B3-948B-1728B52AA6E4}">
                <adec:decorative xmlns:adec="http://schemas.microsoft.com/office/drawing/2017/decorative" xmlns="" val="1"/>
              </a:ext>
            </a:extLst>
          </p:cNvPr>
          <p:cNvSpPr/>
          <p:nvPr/>
        </p:nvSpPr>
        <p:spPr bwMode="auto">
          <a:xfrm>
            <a:off x="4975975" y="2260394"/>
            <a:ext cx="2132123" cy="18422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497A4AA-A8E0-4F93-9B74-762BAB089113}"/>
              </a:ext>
              <a:ext uri="{C183D7F6-B498-43B3-948B-1728B52AA6E4}">
                <adec:decorative xmlns:adec="http://schemas.microsoft.com/office/drawing/2017/decorative" xmlns="" val="1"/>
              </a:ext>
            </a:extLst>
          </p:cNvPr>
          <p:cNvSpPr/>
          <p:nvPr/>
        </p:nvSpPr>
        <p:spPr bwMode="auto">
          <a:xfrm>
            <a:off x="5094314" y="2410752"/>
            <a:ext cx="2041451" cy="27008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descr="image of Azure cloud">
            <a:extLst>
              <a:ext uri="{FF2B5EF4-FFF2-40B4-BE49-F238E27FC236}">
                <a16:creationId xmlns:a16="http://schemas.microsoft.com/office/drawing/2014/main" id="{BDEC2F53-CCA7-4248-AC7C-EE10D8786651}"/>
              </a:ext>
            </a:extLst>
          </p:cNvPr>
          <p:cNvGrpSpPr/>
          <p:nvPr/>
        </p:nvGrpSpPr>
        <p:grpSpPr>
          <a:xfrm>
            <a:off x="5134370" y="2007452"/>
            <a:ext cx="1926574" cy="1032915"/>
            <a:chOff x="5027899" y="2007452"/>
            <a:chExt cx="1926574" cy="1032915"/>
          </a:xfrm>
        </p:grpSpPr>
        <p:sp>
          <p:nvSpPr>
            <p:cNvPr id="121" name="cloud 4" descr="cloud">
              <a:extLst>
                <a:ext uri="{FF2B5EF4-FFF2-40B4-BE49-F238E27FC236}">
                  <a16:creationId xmlns:a16="http://schemas.microsoft.com/office/drawing/2014/main" id="{B44AA96D-A340-4633-B31C-B2F92E00F86A}"/>
                </a:ext>
              </a:extLst>
            </p:cNvPr>
            <p:cNvSpPr>
              <a:spLocks noChangeAspect="1"/>
            </p:cNvSpPr>
            <p:nvPr/>
          </p:nvSpPr>
          <p:spPr bwMode="auto">
            <a:xfrm flipV="1">
              <a:off x="5027899" y="2007452"/>
              <a:ext cx="1926574" cy="103291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TextBox 121">
              <a:extLst>
                <a:ext uri="{FF2B5EF4-FFF2-40B4-BE49-F238E27FC236}">
                  <a16:creationId xmlns:a16="http://schemas.microsoft.com/office/drawing/2014/main" id="{E99AE7C4-4927-4A4F-8494-5D41244B02F1}"/>
                </a:ext>
              </a:extLst>
            </p:cNvPr>
            <p:cNvSpPr txBox="1"/>
            <p:nvPr/>
          </p:nvSpPr>
          <p:spPr>
            <a:xfrm>
              <a:off x="5639641" y="2485997"/>
              <a:ext cx="75698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zure</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endParaRPr>
            </a:p>
          </p:txBody>
        </p:sp>
      </p:grpSp>
      <p:sp>
        <p:nvSpPr>
          <p:cNvPr id="174" name="Title 173">
            <a:extLst>
              <a:ext uri="{FF2B5EF4-FFF2-40B4-BE49-F238E27FC236}">
                <a16:creationId xmlns:a16="http://schemas.microsoft.com/office/drawing/2014/main" id="{02ACC014-B1DB-49F2-AA55-AA07977A94B1}"/>
              </a:ext>
            </a:extLst>
          </p:cNvPr>
          <p:cNvSpPr txBox="1">
            <a:spLocks noGrp="1"/>
          </p:cNvSpPr>
          <p:nvPr>
            <p:ph type="title" idx="4294967295"/>
          </p:nvPr>
        </p:nvSpPr>
        <p:spPr>
          <a:xfrm>
            <a:off x="4299323" y="675323"/>
            <a:ext cx="3593356" cy="738664"/>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50" normalizeH="0" baseline="0" noProof="0" dirty="0">
                <a:ln>
                  <a:noFill/>
                </a:ln>
                <a:solidFill>
                  <a:srgbClr val="50E6FF"/>
                </a:solidFill>
                <a:effectLst/>
                <a:uLnTx/>
                <a:uFillTx/>
                <a:latin typeface="Segoe UI Semibold"/>
                <a:ea typeface="+mn-ea"/>
                <a:cs typeface="+mn-cs"/>
              </a:rPr>
              <a:t>Azure Hybrid</a:t>
            </a:r>
          </a:p>
        </p:txBody>
      </p:sp>
      <p:sp>
        <p:nvSpPr>
          <p:cNvPr id="175" name="TextBox 174">
            <a:extLst>
              <a:ext uri="{FF2B5EF4-FFF2-40B4-BE49-F238E27FC236}">
                <a16:creationId xmlns:a16="http://schemas.microsoft.com/office/drawing/2014/main" id="{8EE59BD8-436B-40D5-A601-42C89673F447}"/>
              </a:ext>
            </a:extLst>
          </p:cNvPr>
          <p:cNvSpPr txBox="1"/>
          <p:nvPr/>
        </p:nvSpPr>
        <p:spPr>
          <a:xfrm>
            <a:off x="4437287" y="1401332"/>
            <a:ext cx="3250313" cy="27699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Innovation anywhere with Azure</a:t>
            </a:r>
          </a:p>
        </p:txBody>
      </p:sp>
      <p:sp>
        <p:nvSpPr>
          <p:cNvPr id="3" name="TextBox 2">
            <a:extLst>
              <a:ext uri="{FF2B5EF4-FFF2-40B4-BE49-F238E27FC236}">
                <a16:creationId xmlns:a16="http://schemas.microsoft.com/office/drawing/2014/main" id="{00FB5F82-EBB0-415F-B2A0-306342F78BBF}"/>
              </a:ext>
            </a:extLst>
          </p:cNvPr>
          <p:cNvSpPr txBox="1"/>
          <p:nvPr/>
        </p:nvSpPr>
        <p:spPr>
          <a:xfrm>
            <a:off x="2179400" y="4454863"/>
            <a:ext cx="562702" cy="24622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AWS</a:t>
            </a:r>
          </a:p>
        </p:txBody>
      </p:sp>
      <p:sp>
        <p:nvSpPr>
          <p:cNvPr id="7" name="TextBox 6">
            <a:extLst>
              <a:ext uri="{FF2B5EF4-FFF2-40B4-BE49-F238E27FC236}">
                <a16:creationId xmlns:a16="http://schemas.microsoft.com/office/drawing/2014/main" id="{F134DD6E-7CD0-42D8-BB90-0432198DF7D2}"/>
              </a:ext>
            </a:extLst>
          </p:cNvPr>
          <p:cNvSpPr txBox="1"/>
          <p:nvPr/>
        </p:nvSpPr>
        <p:spPr>
          <a:xfrm>
            <a:off x="2772107" y="4454863"/>
            <a:ext cx="1063409" cy="24622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VMware</a:t>
            </a:r>
          </a:p>
        </p:txBody>
      </p:sp>
      <p:sp>
        <p:nvSpPr>
          <p:cNvPr id="8" name="TextBox 7">
            <a:extLst>
              <a:ext uri="{FF2B5EF4-FFF2-40B4-BE49-F238E27FC236}">
                <a16:creationId xmlns:a16="http://schemas.microsoft.com/office/drawing/2014/main" id="{4A4AECF8-0168-4E2A-AACD-DA1A8B460766}"/>
              </a:ext>
            </a:extLst>
          </p:cNvPr>
          <p:cNvSpPr txBox="1"/>
          <p:nvPr/>
        </p:nvSpPr>
        <p:spPr>
          <a:xfrm>
            <a:off x="2406706" y="4841772"/>
            <a:ext cx="1327236" cy="221549"/>
          </a:xfrm>
          <a:prstGeom prst="rect">
            <a:avLst/>
          </a:prstGeom>
          <a:noFill/>
        </p:spPr>
        <p:txBody>
          <a:bodyPr wrap="square" lIns="0" tIns="0" rIns="0" bIns="0" rtlCol="0">
            <a:spAutoFit/>
          </a:bodyPr>
          <a:lstStyle/>
          <a:p>
            <a:pPr algn="l"/>
            <a:r>
              <a:rPr lang="en-US" sz="1400" b="1" dirty="0">
                <a:gradFill>
                  <a:gsLst>
                    <a:gs pos="2917">
                      <a:schemeClr val="tx1"/>
                    </a:gs>
                    <a:gs pos="30000">
                      <a:schemeClr val="tx1"/>
                    </a:gs>
                  </a:gsLst>
                  <a:lin ang="5400000" scaled="0"/>
                </a:gradFill>
              </a:rPr>
              <a:t>Google Cloud</a:t>
            </a:r>
          </a:p>
        </p:txBody>
      </p:sp>
    </p:spTree>
    <p:extLst>
      <p:ext uri="{BB962C8B-B14F-4D97-AF65-F5344CB8AC3E}">
        <p14:creationId xmlns:p14="http://schemas.microsoft.com/office/powerpoint/2010/main" val="382143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1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3"/>
                                        </p:tgtEl>
                                      </p:cBhvr>
                                      <p:by x="0" y="100000"/>
                                    </p:animScale>
                                  </p:childTnLst>
                                </p:cTn>
                              </p:par>
                              <p:par>
                                <p:cTn id="9" presetID="10" presetClass="entr" presetSubtype="0" fill="hold" grpId="0" nodeType="withEffect">
                                  <p:stCondLst>
                                    <p:cond delay="300"/>
                                  </p:stCondLst>
                                  <p:childTnLst>
                                    <p:set>
                                      <p:cBhvr>
                                        <p:cTn id="10" dur="1" fill="hold">
                                          <p:stCondLst>
                                            <p:cond delay="0"/>
                                          </p:stCondLst>
                                        </p:cTn>
                                        <p:tgtEl>
                                          <p:spTgt spid="173"/>
                                        </p:tgtEl>
                                        <p:attrNameLst>
                                          <p:attrName>style.visibility</p:attrName>
                                        </p:attrNameLst>
                                      </p:cBhvr>
                                      <p:to>
                                        <p:strVal val="visible"/>
                                      </p:to>
                                    </p:set>
                                    <p:animEffect transition="in" filter="fade">
                                      <p:cBhvr>
                                        <p:cTn id="11" dur="500"/>
                                        <p:tgtEl>
                                          <p:spTgt spid="173"/>
                                        </p:tgtEl>
                                      </p:cBhvr>
                                    </p:animEffect>
                                  </p:childTnLst>
                                </p:cTn>
                              </p:par>
                              <p:par>
                                <p:cTn id="12" presetID="10" presetClass="entr" presetSubtype="0" fill="hold" nodeType="withEffect">
                                  <p:stCondLst>
                                    <p:cond delay="2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nodeType="withEffect">
                                  <p:stCondLst>
                                    <p:cond delay="200"/>
                                  </p:stCondLst>
                                  <p:childTnLst>
                                    <p:animMotion origin="layout" path="M 0 4.44444E-6 L 0 0.01898 " pathEditMode="relative" rAng="0" ptsTypes="AA">
                                      <p:cBhvr>
                                        <p:cTn id="16" dur="700" spd="-100000" fill="hold"/>
                                        <p:tgtEl>
                                          <p:spTgt spid="6"/>
                                        </p:tgtEl>
                                        <p:attrNameLst>
                                          <p:attrName>ppt_x</p:attrName>
                                          <p:attrName>ppt_y</p:attrName>
                                        </p:attrNameLst>
                                      </p:cBhvr>
                                      <p:rCtr x="0" y="949"/>
                                    </p:animMotion>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42" presetClass="path" presetSubtype="0" decel="100000" fill="hold" nodeType="withEffect">
                                  <p:stCondLst>
                                    <p:cond delay="0"/>
                                  </p:stCondLst>
                                  <p:childTnLst>
                                    <p:animMotion origin="layout" path="M 0 4.44444E-6 L 0 0.01898 " pathEditMode="relative" rAng="0" ptsTypes="AA">
                                      <p:cBhvr>
                                        <p:cTn id="21" dur="700" spd="-100000" fill="hold"/>
                                        <p:tgtEl>
                                          <p:spTgt spid="120"/>
                                        </p:tgtEl>
                                        <p:attrNameLst>
                                          <p:attrName>ppt_x</p:attrName>
                                          <p:attrName>ppt_y</p:attrName>
                                        </p:attrNameLst>
                                      </p:cBhvr>
                                      <p:rCtr x="0" y="949"/>
                                    </p:animMotion>
                                  </p:childTnLst>
                                </p:cTn>
                              </p:par>
                              <p:par>
                                <p:cTn id="22" presetID="10" presetClass="entr" presetSubtype="0" fill="hold" grpId="0" nodeType="withEffect">
                                  <p:stCondLst>
                                    <p:cond delay="0"/>
                                  </p:stCondLst>
                                  <p:childTnLst>
                                    <p:set>
                                      <p:cBhvr>
                                        <p:cTn id="23" dur="1" fill="hold">
                                          <p:stCondLst>
                                            <p:cond delay="0"/>
                                          </p:stCondLst>
                                        </p:cTn>
                                        <p:tgtEl>
                                          <p:spTgt spid="174"/>
                                        </p:tgtEl>
                                        <p:attrNameLst>
                                          <p:attrName>style.visibility</p:attrName>
                                        </p:attrNameLst>
                                      </p:cBhvr>
                                      <p:to>
                                        <p:strVal val="visible"/>
                                      </p:to>
                                    </p:set>
                                    <p:animEffect transition="in" filter="fade">
                                      <p:cBhvr>
                                        <p:cTn id="24" dur="500"/>
                                        <p:tgtEl>
                                          <p:spTgt spid="174"/>
                                        </p:tgtEl>
                                      </p:cBhvr>
                                    </p:animEffect>
                                  </p:childTnLst>
                                </p:cTn>
                              </p:par>
                              <p:par>
                                <p:cTn id="25" presetID="42" presetClass="path" presetSubtype="0" decel="100000" fill="hold" grpId="1" nodeType="withEffect">
                                  <p:stCondLst>
                                    <p:cond delay="0"/>
                                  </p:stCondLst>
                                  <p:childTnLst>
                                    <p:animMotion origin="layout" path="M 0 4.44444E-6 L 0 0.01898 " pathEditMode="relative" rAng="0" ptsTypes="AA">
                                      <p:cBhvr>
                                        <p:cTn id="26" dur="700" spd="-100000" fill="hold"/>
                                        <p:tgtEl>
                                          <p:spTgt spid="174"/>
                                        </p:tgtEl>
                                        <p:attrNameLst>
                                          <p:attrName>ppt_x</p:attrName>
                                          <p:attrName>ppt_y</p:attrName>
                                        </p:attrNameLst>
                                      </p:cBhvr>
                                      <p:rCtr x="0" y="949"/>
                                    </p:animMotion>
                                  </p:childTnLst>
                                </p:cTn>
                              </p:par>
                              <p:par>
                                <p:cTn id="27" presetID="10" presetClass="entr" presetSubtype="0" fill="hold" grpId="0" nodeType="withEffect">
                                  <p:stCondLst>
                                    <p:cond delay="0"/>
                                  </p:stCondLst>
                                  <p:childTnLst>
                                    <p:set>
                                      <p:cBhvr>
                                        <p:cTn id="28" dur="1" fill="hold">
                                          <p:stCondLst>
                                            <p:cond delay="0"/>
                                          </p:stCondLst>
                                        </p:cTn>
                                        <p:tgtEl>
                                          <p:spTgt spid="175"/>
                                        </p:tgtEl>
                                        <p:attrNameLst>
                                          <p:attrName>style.visibility</p:attrName>
                                        </p:attrNameLst>
                                      </p:cBhvr>
                                      <p:to>
                                        <p:strVal val="visible"/>
                                      </p:to>
                                    </p:set>
                                    <p:animEffect transition="in" filter="fade">
                                      <p:cBhvr>
                                        <p:cTn id="29" dur="500"/>
                                        <p:tgtEl>
                                          <p:spTgt spid="175"/>
                                        </p:tgtEl>
                                      </p:cBhvr>
                                    </p:animEffect>
                                  </p:childTnLst>
                                </p:cTn>
                              </p:par>
                              <p:par>
                                <p:cTn id="30" presetID="42" presetClass="path" presetSubtype="0" decel="100000" fill="hold" grpId="1" nodeType="withEffect">
                                  <p:stCondLst>
                                    <p:cond delay="0"/>
                                  </p:stCondLst>
                                  <p:childTnLst>
                                    <p:animMotion origin="layout" path="M 0 4.44444E-6 L 0 0.01898 " pathEditMode="relative" rAng="0" ptsTypes="AA">
                                      <p:cBhvr>
                                        <p:cTn id="31" dur="700" spd="-100000" fill="hold"/>
                                        <p:tgtEl>
                                          <p:spTgt spid="17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p:bldP spid="174" grpId="1"/>
      <p:bldP spid="175" grpId="0"/>
      <p:bldP spid="175" grpId="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pSp>
        <p:nvGrpSpPr>
          <p:cNvPr id="10" name="Group 86">
            <a:extLst>
              <a:ext uri="{FF2B5EF4-FFF2-40B4-BE49-F238E27FC236}">
                <a16:creationId xmlns:a16="http://schemas.microsoft.com/office/drawing/2014/main" id="{1ADB0D52-A988-9D4E-AD52-065DE0E4342D}"/>
              </a:ext>
              <a:ext uri="{C183D7F6-B498-43B3-948B-1728B52AA6E4}">
                <adec:decorative xmlns:adec="http://schemas.microsoft.com/office/drawing/2017/decorative" xmlns="" val="1"/>
              </a:ext>
            </a:extLst>
          </p:cNvPr>
          <p:cNvGrpSpPr>
            <a:grpSpLocks noChangeAspect="1"/>
          </p:cNvGrpSpPr>
          <p:nvPr/>
        </p:nvGrpSpPr>
        <p:grpSpPr bwMode="auto">
          <a:xfrm>
            <a:off x="1670275" y="2213246"/>
            <a:ext cx="492223" cy="564161"/>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a:xfrm>
            <a:off x="536732" y="325587"/>
            <a:ext cx="10818601" cy="503071"/>
          </a:xfrm>
        </p:spPr>
        <p:txBody>
          <a:bodyPr/>
          <a:lstStyle/>
          <a:p>
            <a:r>
              <a:rPr lang="en-US">
                <a:solidFill>
                  <a:schemeClr val="accent3"/>
                </a:solidFill>
              </a:rPr>
              <a:t>Enhanced business continuity across hybrid environments</a:t>
            </a:r>
          </a:p>
        </p:txBody>
      </p:sp>
      <p:pic>
        <p:nvPicPr>
          <p:cNvPr id="3" name="Graphic 2">
            <a:extLst>
              <a:ext uri="{FF2B5EF4-FFF2-40B4-BE49-F238E27FC236}">
                <a16:creationId xmlns:a16="http://schemas.microsoft.com/office/drawing/2014/main" id="{21565FCD-47A8-45E8-BDAC-C41B15A6BB83}"/>
              </a:ext>
              <a:ext uri="{C183D7F6-B498-43B3-948B-1728B52AA6E4}">
                <adec:decorative xmlns:adec="http://schemas.microsoft.com/office/drawing/2017/decorative" xmlns="" val="1"/>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7173378" y="2158810"/>
            <a:ext cx="624427" cy="673032"/>
          </a:xfrm>
          <a:prstGeom prst="rect">
            <a:avLst/>
          </a:prstGeom>
        </p:spPr>
      </p:pic>
      <p:grpSp>
        <p:nvGrpSpPr>
          <p:cNvPr id="37" name="Group 36">
            <a:extLst>
              <a:ext uri="{FF2B5EF4-FFF2-40B4-BE49-F238E27FC236}">
                <a16:creationId xmlns:a16="http://schemas.microsoft.com/office/drawing/2014/main" id="{8B6264DE-9599-47CB-889F-1E227367B771}"/>
              </a:ext>
              <a:ext uri="{C183D7F6-B498-43B3-948B-1728B52AA6E4}">
                <adec:decorative xmlns:adec="http://schemas.microsoft.com/office/drawing/2017/decorative" xmlns="" val="1"/>
              </a:ext>
            </a:extLst>
          </p:cNvPr>
          <p:cNvGrpSpPr/>
          <p:nvPr/>
        </p:nvGrpSpPr>
        <p:grpSpPr>
          <a:xfrm>
            <a:off x="4365295" y="2228220"/>
            <a:ext cx="637950" cy="534212"/>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28" name="Rectangle 27">
            <a:extLst>
              <a:ext uri="{FF2B5EF4-FFF2-40B4-BE49-F238E27FC236}">
                <a16:creationId xmlns:a16="http://schemas.microsoft.com/office/drawing/2014/main" id="{F0671F48-0665-4E54-BADD-36EE7FC66FF3}"/>
              </a:ext>
            </a:extLst>
          </p:cNvPr>
          <p:cNvSpPr/>
          <p:nvPr/>
        </p:nvSpPr>
        <p:spPr>
          <a:xfrm>
            <a:off x="706869" y="3047530"/>
            <a:ext cx="2419034"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One-click backup for VMs and databases with </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29" name="Rectangle 28">
            <a:extLst>
              <a:ext uri="{FF2B5EF4-FFF2-40B4-BE49-F238E27FC236}">
                <a16:creationId xmlns:a16="http://schemas.microsoft.com/office/drawing/2014/main" id="{B4A7772C-8329-4DAA-B23B-52FDB6ADEBAA}"/>
              </a:ext>
            </a:extLst>
          </p:cNvPr>
          <p:cNvSpPr/>
          <p:nvPr/>
        </p:nvSpPr>
        <p:spPr>
          <a:xfrm>
            <a:off x="3356337" y="3072321"/>
            <a:ext cx="2632773"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ata encryption &amp; multi-factor authentication 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Backup</a:t>
            </a:r>
          </a:p>
        </p:txBody>
      </p:sp>
      <p:sp>
        <p:nvSpPr>
          <p:cNvPr id="31" name="Rectangle 30">
            <a:extLst>
              <a:ext uri="{FF2B5EF4-FFF2-40B4-BE49-F238E27FC236}">
                <a16:creationId xmlns:a16="http://schemas.microsoft.com/office/drawing/2014/main" id="{8C6ABC32-C529-4354-9E74-B70419A53975}"/>
              </a:ext>
            </a:extLst>
          </p:cNvPr>
          <p:cNvSpPr/>
          <p:nvPr/>
        </p:nvSpPr>
        <p:spPr>
          <a:xfrm>
            <a:off x="6267558" y="3047529"/>
            <a:ext cx="2587667" cy="830997"/>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cover data and apps quickly and reliably</a:t>
            </a:r>
          </a:p>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Site Recovery</a:t>
            </a:r>
          </a:p>
        </p:txBody>
      </p:sp>
      <p:sp>
        <p:nvSpPr>
          <p:cNvPr id="43" name="TextBox 42">
            <a:extLst>
              <a:ext uri="{FF2B5EF4-FFF2-40B4-BE49-F238E27FC236}">
                <a16:creationId xmlns:a16="http://schemas.microsoft.com/office/drawing/2014/main" id="{72023B01-A176-435C-9115-E6A965D2CBA3}"/>
              </a:ext>
            </a:extLst>
          </p:cNvPr>
          <p:cNvSpPr txBox="1"/>
          <p:nvPr/>
        </p:nvSpPr>
        <p:spPr>
          <a:xfrm>
            <a:off x="1126960" y="4721008"/>
            <a:ext cx="240150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Semibold"/>
                <a:ea typeface="+mn-ea"/>
                <a:cs typeface="+mn-cs"/>
              </a:rPr>
              <a:t>High Availability</a:t>
            </a:r>
          </a:p>
        </p:txBody>
      </p:sp>
      <p:sp>
        <p:nvSpPr>
          <p:cNvPr id="44" name="TextBox 43">
            <a:extLst>
              <a:ext uri="{FF2B5EF4-FFF2-40B4-BE49-F238E27FC236}">
                <a16:creationId xmlns:a16="http://schemas.microsoft.com/office/drawing/2014/main" id="{3E673486-ABD4-4962-A1C3-4087A90E673F}"/>
              </a:ext>
            </a:extLst>
          </p:cNvPr>
          <p:cNvSpPr txBox="1"/>
          <p:nvPr/>
        </p:nvSpPr>
        <p:spPr>
          <a:xfrm>
            <a:off x="1529202" y="5039448"/>
            <a:ext cx="1157368"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r>
              <a:rPr kumimoji="0" lang="en-US" sz="105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a:r>
            <a:br>
              <a:rPr kumimoji="0" lang="en-US" sz="105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solated VM failure</a:t>
            </a:r>
          </a:p>
        </p:txBody>
      </p:sp>
      <p:sp>
        <p:nvSpPr>
          <p:cNvPr id="45" name="TextBox 44">
            <a:extLst>
              <a:ext uri="{FF2B5EF4-FFF2-40B4-BE49-F238E27FC236}">
                <a16:creationId xmlns:a16="http://schemas.microsoft.com/office/drawing/2014/main" id="{4C7A4807-FCDA-4B7B-B79C-34850FD60D57}"/>
              </a:ext>
            </a:extLst>
          </p:cNvPr>
          <p:cNvSpPr txBox="1"/>
          <p:nvPr/>
        </p:nvSpPr>
        <p:spPr>
          <a:xfrm>
            <a:off x="3985484" y="5039448"/>
            <a:ext cx="1021113"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5% </a:t>
            </a:r>
            <a:b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ardware failure</a:t>
            </a:r>
          </a:p>
        </p:txBody>
      </p:sp>
      <p:sp>
        <p:nvSpPr>
          <p:cNvPr id="46" name="TextBox 45">
            <a:extLst>
              <a:ext uri="{FF2B5EF4-FFF2-40B4-BE49-F238E27FC236}">
                <a16:creationId xmlns:a16="http://schemas.microsoft.com/office/drawing/2014/main" id="{EA27FE4F-3174-47FB-A070-EA5BD50D138F}"/>
              </a:ext>
            </a:extLst>
          </p:cNvPr>
          <p:cNvSpPr txBox="1"/>
          <p:nvPr/>
        </p:nvSpPr>
        <p:spPr>
          <a:xfrm>
            <a:off x="6328882" y="5039448"/>
            <a:ext cx="1468351"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datacenter failure</a:t>
            </a:r>
          </a:p>
        </p:txBody>
      </p:sp>
      <p:sp>
        <p:nvSpPr>
          <p:cNvPr id="47" name="TextBox 46">
            <a:extLst>
              <a:ext uri="{FF2B5EF4-FFF2-40B4-BE49-F238E27FC236}">
                <a16:creationId xmlns:a16="http://schemas.microsoft.com/office/drawing/2014/main" id="{70EC0797-C046-46E4-8AF0-7FF79407ED60}"/>
              </a:ext>
            </a:extLst>
          </p:cNvPr>
          <p:cNvSpPr txBox="1"/>
          <p:nvPr/>
        </p:nvSpPr>
        <p:spPr>
          <a:xfrm>
            <a:off x="9107817" y="5039448"/>
            <a:ext cx="1474314"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inimal RPO/RTO</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region failure</a:t>
            </a:r>
          </a:p>
        </p:txBody>
      </p:sp>
      <p:grpSp>
        <p:nvGrpSpPr>
          <p:cNvPr id="48" name="Group 47">
            <a:extLst>
              <a:ext uri="{FF2B5EF4-FFF2-40B4-BE49-F238E27FC236}">
                <a16:creationId xmlns:a16="http://schemas.microsoft.com/office/drawing/2014/main" id="{796342B4-29BE-4E66-9C08-F8AEFF1CFF16}"/>
              </a:ext>
              <a:ext uri="{C183D7F6-B498-43B3-948B-1728B52AA6E4}">
                <adec:decorative xmlns:adec="http://schemas.microsoft.com/office/drawing/2017/decorative" xmlns="" val="1"/>
              </a:ext>
            </a:extLst>
          </p:cNvPr>
          <p:cNvGrpSpPr/>
          <p:nvPr/>
        </p:nvGrpSpPr>
        <p:grpSpPr>
          <a:xfrm>
            <a:off x="1165467" y="4449179"/>
            <a:ext cx="9861066" cy="246221"/>
            <a:chOff x="1319320" y="4453342"/>
            <a:chExt cx="9861066" cy="246221"/>
          </a:xfrm>
        </p:grpSpPr>
        <p:cxnSp>
          <p:nvCxnSpPr>
            <p:cNvPr id="49" name="Straight Connector 48">
              <a:extLst>
                <a:ext uri="{FF2B5EF4-FFF2-40B4-BE49-F238E27FC236}">
                  <a16:creationId xmlns:a16="http://schemas.microsoft.com/office/drawing/2014/main" id="{8F2B802E-497A-4F75-AE36-DCF177BA432C}"/>
                </a:ext>
              </a:extLst>
            </p:cNvPr>
            <p:cNvCxnSpPr>
              <a:cxnSpLocks/>
            </p:cNvCxnSpPr>
            <p:nvPr/>
          </p:nvCxnSpPr>
          <p:spPr>
            <a:xfrm>
              <a:off x="1319320" y="4607230"/>
              <a:ext cx="9861066" cy="0"/>
            </a:xfrm>
            <a:prstGeom prst="line">
              <a:avLst/>
            </a:prstGeom>
            <a:noFill/>
            <a:ln w="9525" cap="flat" cmpd="sng" algn="ctr">
              <a:solidFill>
                <a:srgbClr val="50E6FF"/>
              </a:solidFill>
              <a:prstDash val="solid"/>
              <a:headEnd type="none" w="lg" len="med"/>
              <a:tailEnd type="none" w="lg" len="med"/>
            </a:ln>
            <a:effectLst/>
          </p:spPr>
        </p:cxnSp>
        <p:sp>
          <p:nvSpPr>
            <p:cNvPr id="50" name="TextBox 49">
              <a:extLst>
                <a:ext uri="{FF2B5EF4-FFF2-40B4-BE49-F238E27FC236}">
                  <a16:creationId xmlns:a16="http://schemas.microsoft.com/office/drawing/2014/main" id="{3151B893-56D3-4630-971B-8EAEFED40460}"/>
                </a:ext>
              </a:extLst>
            </p:cNvPr>
            <p:cNvSpPr txBox="1"/>
            <p:nvPr/>
          </p:nvSpPr>
          <p:spPr>
            <a:xfrm>
              <a:off x="5383408" y="4453342"/>
              <a:ext cx="1582164" cy="246221"/>
            </a:xfrm>
            <a:prstGeom prst="rect">
              <a:avLst/>
            </a:prstGeom>
            <a:solidFill>
              <a:srgbClr val="000000"/>
            </a:solid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High Availability </a:t>
              </a:r>
            </a:p>
          </p:txBody>
        </p:sp>
      </p:grpSp>
      <p:sp>
        <p:nvSpPr>
          <p:cNvPr id="38" name="TextBox 37">
            <a:extLst>
              <a:ext uri="{FF2B5EF4-FFF2-40B4-BE49-F238E27FC236}">
                <a16:creationId xmlns:a16="http://schemas.microsoft.com/office/drawing/2014/main" id="{88FEF250-4078-440C-9460-4C71A4F68655}"/>
              </a:ext>
            </a:extLst>
          </p:cNvPr>
          <p:cNvSpPr txBox="1"/>
          <p:nvPr/>
        </p:nvSpPr>
        <p:spPr>
          <a:xfrm>
            <a:off x="9184720" y="3047529"/>
            <a:ext cx="2632773"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nnected branch offices, datacenters, clo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with </a:t>
            </a: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Virtual WAN</a:t>
            </a:r>
          </a:p>
        </p:txBody>
      </p:sp>
      <p:sp>
        <p:nvSpPr>
          <p:cNvPr id="27" name="Freeform 9">
            <a:extLst>
              <a:ext uri="{FF2B5EF4-FFF2-40B4-BE49-F238E27FC236}">
                <a16:creationId xmlns:a16="http://schemas.microsoft.com/office/drawing/2014/main" id="{4358E2B9-1767-4111-86ED-A942D6308974}"/>
              </a:ext>
              <a:ext uri="{C183D7F6-B498-43B3-948B-1728B52AA6E4}">
                <adec:decorative xmlns:adec="http://schemas.microsoft.com/office/drawing/2017/decorative" xmlns="" val="1"/>
              </a:ext>
            </a:extLst>
          </p:cNvPr>
          <p:cNvSpPr>
            <a:spLocks noEditPoints="1"/>
          </p:cNvSpPr>
          <p:nvPr/>
        </p:nvSpPr>
        <p:spPr bwMode="auto">
          <a:xfrm>
            <a:off x="10202387" y="2346137"/>
            <a:ext cx="475795" cy="431270"/>
          </a:xfrm>
          <a:custGeom>
            <a:avLst/>
            <a:gdLst>
              <a:gd name="T0" fmla="*/ 1156 w 1565"/>
              <a:gd name="T1" fmla="*/ 241 h 1574"/>
              <a:gd name="T2" fmla="*/ 762 w 1565"/>
              <a:gd name="T3" fmla="*/ 0 h 1574"/>
              <a:gd name="T4" fmla="*/ 325 w 1565"/>
              <a:gd name="T5" fmla="*/ 382 h 1574"/>
              <a:gd name="T6" fmla="*/ 0 w 1565"/>
              <a:gd name="T7" fmla="*/ 733 h 1574"/>
              <a:gd name="T8" fmla="*/ 351 w 1565"/>
              <a:gd name="T9" fmla="*/ 1084 h 1574"/>
              <a:gd name="T10" fmla="*/ 425 w 1565"/>
              <a:gd name="T11" fmla="*/ 1084 h 1574"/>
              <a:gd name="T12" fmla="*/ 425 w 1565"/>
              <a:gd name="T13" fmla="*/ 1574 h 1574"/>
              <a:gd name="T14" fmla="*/ 1356 w 1565"/>
              <a:gd name="T15" fmla="*/ 1574 h 1574"/>
              <a:gd name="T16" fmla="*/ 1356 w 1565"/>
              <a:gd name="T17" fmla="*/ 1026 h 1574"/>
              <a:gd name="T18" fmla="*/ 1565 w 1565"/>
              <a:gd name="T19" fmla="*/ 663 h 1574"/>
              <a:gd name="T20" fmla="*/ 1156 w 1565"/>
              <a:gd name="T21" fmla="*/ 241 h 1574"/>
              <a:gd name="T22" fmla="*/ 1269 w 1565"/>
              <a:gd name="T23" fmla="*/ 1486 h 1574"/>
              <a:gd name="T24" fmla="*/ 512 w 1565"/>
              <a:gd name="T25" fmla="*/ 1486 h 1574"/>
              <a:gd name="T26" fmla="*/ 512 w 1565"/>
              <a:gd name="T27" fmla="*/ 694 h 1574"/>
              <a:gd name="T28" fmla="*/ 544 w 1565"/>
              <a:gd name="T29" fmla="*/ 694 h 1574"/>
              <a:gd name="T30" fmla="*/ 869 w 1565"/>
              <a:gd name="T31" fmla="*/ 694 h 1574"/>
              <a:gd name="T32" fmla="*/ 1269 w 1565"/>
              <a:gd name="T33" fmla="*/ 694 h 1574"/>
              <a:gd name="T34" fmla="*/ 1269 w 1565"/>
              <a:gd name="T35" fmla="*/ 1486 h 1574"/>
              <a:gd name="T36" fmla="*/ 631 w 1565"/>
              <a:gd name="T37" fmla="*/ 607 h 1574"/>
              <a:gd name="T38" fmla="*/ 631 w 1565"/>
              <a:gd name="T39" fmla="*/ 530 h 1574"/>
              <a:gd name="T40" fmla="*/ 782 w 1565"/>
              <a:gd name="T41" fmla="*/ 530 h 1574"/>
              <a:gd name="T42" fmla="*/ 782 w 1565"/>
              <a:gd name="T43" fmla="*/ 607 h 1574"/>
              <a:gd name="T44" fmla="*/ 631 w 1565"/>
              <a:gd name="T45" fmla="*/ 607 h 1574"/>
              <a:gd name="T46" fmla="*/ 1356 w 1565"/>
              <a:gd name="T47" fmla="*/ 903 h 1574"/>
              <a:gd name="T48" fmla="*/ 1356 w 1565"/>
              <a:gd name="T49" fmla="*/ 607 h 1574"/>
              <a:gd name="T50" fmla="*/ 869 w 1565"/>
              <a:gd name="T51" fmla="*/ 607 h 1574"/>
              <a:gd name="T52" fmla="*/ 869 w 1565"/>
              <a:gd name="T53" fmla="*/ 442 h 1574"/>
              <a:gd name="T54" fmla="*/ 544 w 1565"/>
              <a:gd name="T55" fmla="*/ 442 h 1574"/>
              <a:gd name="T56" fmla="*/ 544 w 1565"/>
              <a:gd name="T57" fmla="*/ 607 h 1574"/>
              <a:gd name="T58" fmla="*/ 425 w 1565"/>
              <a:gd name="T59" fmla="*/ 607 h 1574"/>
              <a:gd name="T60" fmla="*/ 425 w 1565"/>
              <a:gd name="T61" fmla="*/ 984 h 1574"/>
              <a:gd name="T62" fmla="*/ 351 w 1565"/>
              <a:gd name="T63" fmla="*/ 984 h 1574"/>
              <a:gd name="T64" fmla="*/ 100 w 1565"/>
              <a:gd name="T65" fmla="*/ 733 h 1574"/>
              <a:gd name="T66" fmla="*/ 351 w 1565"/>
              <a:gd name="T67" fmla="*/ 482 h 1574"/>
              <a:gd name="T68" fmla="*/ 420 w 1565"/>
              <a:gd name="T69" fmla="*/ 482 h 1574"/>
              <a:gd name="T70" fmla="*/ 422 w 1565"/>
              <a:gd name="T71" fmla="*/ 433 h 1574"/>
              <a:gd name="T72" fmla="*/ 762 w 1565"/>
              <a:gd name="T73" fmla="*/ 101 h 1574"/>
              <a:gd name="T74" fmla="*/ 1078 w 1565"/>
              <a:gd name="T75" fmla="*/ 311 h 1574"/>
              <a:gd name="T76" fmla="*/ 1091 w 1565"/>
              <a:gd name="T77" fmla="*/ 344 h 1574"/>
              <a:gd name="T78" fmla="*/ 1134 w 1565"/>
              <a:gd name="T79" fmla="*/ 342 h 1574"/>
              <a:gd name="T80" fmla="*/ 1144 w 1565"/>
              <a:gd name="T81" fmla="*/ 341 h 1574"/>
              <a:gd name="T82" fmla="*/ 1465 w 1565"/>
              <a:gd name="T83" fmla="*/ 663 h 1574"/>
              <a:gd name="T84" fmla="*/ 1356 w 1565"/>
              <a:gd name="T85" fmla="*/ 903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65" h="1574">
                <a:moveTo>
                  <a:pt x="1156" y="241"/>
                </a:moveTo>
                <a:cubicBezTo>
                  <a:pt x="1081" y="94"/>
                  <a:pt x="930" y="0"/>
                  <a:pt x="762" y="0"/>
                </a:cubicBezTo>
                <a:cubicBezTo>
                  <a:pt x="542" y="0"/>
                  <a:pt x="356" y="168"/>
                  <a:pt x="325" y="382"/>
                </a:cubicBezTo>
                <a:cubicBezTo>
                  <a:pt x="144" y="396"/>
                  <a:pt x="0" y="548"/>
                  <a:pt x="0" y="733"/>
                </a:cubicBezTo>
                <a:cubicBezTo>
                  <a:pt x="0" y="926"/>
                  <a:pt x="157" y="1084"/>
                  <a:pt x="351" y="1084"/>
                </a:cubicBezTo>
                <a:cubicBezTo>
                  <a:pt x="425" y="1084"/>
                  <a:pt x="425" y="1084"/>
                  <a:pt x="425" y="1084"/>
                </a:cubicBezTo>
                <a:cubicBezTo>
                  <a:pt x="425" y="1493"/>
                  <a:pt x="425" y="1574"/>
                  <a:pt x="425" y="1574"/>
                </a:cubicBezTo>
                <a:cubicBezTo>
                  <a:pt x="1356" y="1574"/>
                  <a:pt x="1356" y="1574"/>
                  <a:pt x="1356" y="1574"/>
                </a:cubicBezTo>
                <a:cubicBezTo>
                  <a:pt x="1356" y="1341"/>
                  <a:pt x="1356" y="1163"/>
                  <a:pt x="1356" y="1026"/>
                </a:cubicBezTo>
                <a:cubicBezTo>
                  <a:pt x="1481" y="953"/>
                  <a:pt x="1565" y="818"/>
                  <a:pt x="1565" y="663"/>
                </a:cubicBezTo>
                <a:cubicBezTo>
                  <a:pt x="1565" y="434"/>
                  <a:pt x="1383" y="248"/>
                  <a:pt x="1156" y="241"/>
                </a:cubicBezTo>
                <a:close/>
                <a:moveTo>
                  <a:pt x="1269" y="1486"/>
                </a:moveTo>
                <a:cubicBezTo>
                  <a:pt x="512" y="1486"/>
                  <a:pt x="512" y="1486"/>
                  <a:pt x="512" y="1486"/>
                </a:cubicBezTo>
                <a:cubicBezTo>
                  <a:pt x="512" y="756"/>
                  <a:pt x="512" y="694"/>
                  <a:pt x="512" y="694"/>
                </a:cubicBezTo>
                <a:cubicBezTo>
                  <a:pt x="544" y="694"/>
                  <a:pt x="544" y="694"/>
                  <a:pt x="544" y="694"/>
                </a:cubicBezTo>
                <a:cubicBezTo>
                  <a:pt x="869" y="694"/>
                  <a:pt x="869" y="694"/>
                  <a:pt x="869" y="694"/>
                </a:cubicBezTo>
                <a:cubicBezTo>
                  <a:pt x="1269" y="694"/>
                  <a:pt x="1269" y="694"/>
                  <a:pt x="1269" y="694"/>
                </a:cubicBezTo>
                <a:cubicBezTo>
                  <a:pt x="1269" y="1378"/>
                  <a:pt x="1269" y="1486"/>
                  <a:pt x="1269" y="1486"/>
                </a:cubicBezTo>
                <a:close/>
                <a:moveTo>
                  <a:pt x="631" y="607"/>
                </a:moveTo>
                <a:cubicBezTo>
                  <a:pt x="631" y="530"/>
                  <a:pt x="631" y="530"/>
                  <a:pt x="631" y="530"/>
                </a:cubicBezTo>
                <a:cubicBezTo>
                  <a:pt x="782" y="530"/>
                  <a:pt x="782" y="530"/>
                  <a:pt x="782" y="530"/>
                </a:cubicBezTo>
                <a:cubicBezTo>
                  <a:pt x="782" y="607"/>
                  <a:pt x="782" y="607"/>
                  <a:pt x="782" y="607"/>
                </a:cubicBezTo>
                <a:cubicBezTo>
                  <a:pt x="631" y="607"/>
                  <a:pt x="631" y="607"/>
                  <a:pt x="631" y="607"/>
                </a:cubicBezTo>
                <a:close/>
                <a:moveTo>
                  <a:pt x="1356" y="903"/>
                </a:moveTo>
                <a:cubicBezTo>
                  <a:pt x="1356" y="662"/>
                  <a:pt x="1356" y="607"/>
                  <a:pt x="1356" y="607"/>
                </a:cubicBezTo>
                <a:cubicBezTo>
                  <a:pt x="869" y="607"/>
                  <a:pt x="869" y="607"/>
                  <a:pt x="869" y="607"/>
                </a:cubicBezTo>
                <a:cubicBezTo>
                  <a:pt x="869" y="442"/>
                  <a:pt x="869" y="442"/>
                  <a:pt x="869" y="442"/>
                </a:cubicBezTo>
                <a:cubicBezTo>
                  <a:pt x="544" y="442"/>
                  <a:pt x="544" y="442"/>
                  <a:pt x="544" y="442"/>
                </a:cubicBezTo>
                <a:cubicBezTo>
                  <a:pt x="544" y="607"/>
                  <a:pt x="544" y="607"/>
                  <a:pt x="544" y="607"/>
                </a:cubicBezTo>
                <a:cubicBezTo>
                  <a:pt x="425" y="607"/>
                  <a:pt x="425" y="607"/>
                  <a:pt x="425" y="607"/>
                </a:cubicBezTo>
                <a:cubicBezTo>
                  <a:pt x="425" y="753"/>
                  <a:pt x="425" y="877"/>
                  <a:pt x="425" y="984"/>
                </a:cubicBezTo>
                <a:cubicBezTo>
                  <a:pt x="351" y="984"/>
                  <a:pt x="351" y="984"/>
                  <a:pt x="351" y="984"/>
                </a:cubicBezTo>
                <a:cubicBezTo>
                  <a:pt x="213" y="984"/>
                  <a:pt x="100" y="871"/>
                  <a:pt x="100" y="733"/>
                </a:cubicBezTo>
                <a:cubicBezTo>
                  <a:pt x="100" y="594"/>
                  <a:pt x="213" y="482"/>
                  <a:pt x="351" y="482"/>
                </a:cubicBezTo>
                <a:cubicBezTo>
                  <a:pt x="420" y="482"/>
                  <a:pt x="420" y="482"/>
                  <a:pt x="420" y="482"/>
                </a:cubicBezTo>
                <a:cubicBezTo>
                  <a:pt x="422" y="433"/>
                  <a:pt x="422" y="433"/>
                  <a:pt x="422" y="433"/>
                </a:cubicBezTo>
                <a:cubicBezTo>
                  <a:pt x="427" y="250"/>
                  <a:pt x="580" y="101"/>
                  <a:pt x="762" y="101"/>
                </a:cubicBezTo>
                <a:cubicBezTo>
                  <a:pt x="901" y="101"/>
                  <a:pt x="1025" y="183"/>
                  <a:pt x="1078" y="311"/>
                </a:cubicBezTo>
                <a:cubicBezTo>
                  <a:pt x="1091" y="344"/>
                  <a:pt x="1091" y="344"/>
                  <a:pt x="1091" y="344"/>
                </a:cubicBezTo>
                <a:cubicBezTo>
                  <a:pt x="1134" y="342"/>
                  <a:pt x="1134" y="342"/>
                  <a:pt x="1134" y="342"/>
                </a:cubicBezTo>
                <a:cubicBezTo>
                  <a:pt x="1137" y="342"/>
                  <a:pt x="1140" y="341"/>
                  <a:pt x="1144" y="341"/>
                </a:cubicBezTo>
                <a:cubicBezTo>
                  <a:pt x="1321" y="341"/>
                  <a:pt x="1465" y="485"/>
                  <a:pt x="1465" y="663"/>
                </a:cubicBezTo>
                <a:cubicBezTo>
                  <a:pt x="1465" y="758"/>
                  <a:pt x="1423" y="844"/>
                  <a:pt x="1356" y="903"/>
                </a:cubicBezTo>
                <a:close/>
              </a:path>
            </a:pathLst>
          </a:custGeom>
          <a:solidFill>
            <a:srgbClr val="FFFFFF"/>
          </a:solidFill>
          <a:ln w="9525">
            <a:solidFill>
              <a:srgbClr val="00B0F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060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35" name="Table 25">
            <a:extLst>
              <a:ext uri="{FF2B5EF4-FFF2-40B4-BE49-F238E27FC236}">
                <a16:creationId xmlns:a16="http://schemas.microsoft.com/office/drawing/2014/main" id="{E7ED6B57-81DA-4E75-AEC6-02A8CEE4683F}"/>
              </a:ext>
            </a:extLst>
          </p:cNvPr>
          <p:cNvGraphicFramePr>
            <a:graphicFrameLocks noGrp="1"/>
          </p:cNvGraphicFramePr>
          <p:nvPr>
            <p:extLst>
              <p:ext uri="{D42A27DB-BD31-4B8C-83A1-F6EECF244321}">
                <p14:modId xmlns:p14="http://schemas.microsoft.com/office/powerpoint/2010/main" val="3187452635"/>
              </p:ext>
            </p:extLst>
          </p:nvPr>
        </p:nvGraphicFramePr>
        <p:xfrm>
          <a:off x="667910" y="1624381"/>
          <a:ext cx="8032330" cy="2865120"/>
        </p:xfrm>
        <a:graphic>
          <a:graphicData uri="http://schemas.openxmlformats.org/drawingml/2006/table">
            <a:tbl>
              <a:tblPr firstRow="1">
                <a:tableStyleId>{5C22544A-7EE6-4342-B048-85BDC9FD1C3A}</a:tableStyleId>
              </a:tblPr>
              <a:tblGrid>
                <a:gridCol w="1606466">
                  <a:extLst>
                    <a:ext uri="{9D8B030D-6E8A-4147-A177-3AD203B41FA5}">
                      <a16:colId xmlns:a16="http://schemas.microsoft.com/office/drawing/2014/main" val="3728697909"/>
                    </a:ext>
                  </a:extLst>
                </a:gridCol>
                <a:gridCol w="1606466">
                  <a:extLst>
                    <a:ext uri="{9D8B030D-6E8A-4147-A177-3AD203B41FA5}">
                      <a16:colId xmlns:a16="http://schemas.microsoft.com/office/drawing/2014/main" val="2988424376"/>
                    </a:ext>
                  </a:extLst>
                </a:gridCol>
                <a:gridCol w="1606466">
                  <a:extLst>
                    <a:ext uri="{9D8B030D-6E8A-4147-A177-3AD203B41FA5}">
                      <a16:colId xmlns:a16="http://schemas.microsoft.com/office/drawing/2014/main" val="2059038276"/>
                    </a:ext>
                  </a:extLst>
                </a:gridCol>
                <a:gridCol w="1606466">
                  <a:extLst>
                    <a:ext uri="{9D8B030D-6E8A-4147-A177-3AD203B41FA5}">
                      <a16:colId xmlns:a16="http://schemas.microsoft.com/office/drawing/2014/main" val="591048136"/>
                    </a:ext>
                  </a:extLst>
                </a:gridCol>
                <a:gridCol w="1606466">
                  <a:extLst>
                    <a:ext uri="{9D8B030D-6E8A-4147-A177-3AD203B41FA5}">
                      <a16:colId xmlns:a16="http://schemas.microsoft.com/office/drawing/2014/main" val="3845722155"/>
                    </a:ext>
                  </a:extLst>
                </a:gridCol>
              </a:tblGrid>
              <a:tr h="142155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ENTRY LEVEL</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BURSTABL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ENERAL PURPOSE</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NFIDENTIAL COMPUTING </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COMPUTE </a:t>
                      </a:r>
                      <a:r>
                        <a:rPr lang="en-US" sz="800" kern="0" spc="200">
                          <a:solidFill>
                            <a:schemeClr val="tx1"/>
                          </a:solidFill>
                          <a:cs typeface="Segoe UI Semibold" panose="020B0702040204020203" pitchFamily="34" charset="0"/>
                        </a:rPr>
                        <a:t>INTENSIVE</a:t>
                      </a:r>
                      <a:endParaRPr lang="en-US" sz="800" kern="0" spc="200"/>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158161"/>
                  </a:ext>
                </a:extLst>
              </a:tr>
              <a:tr h="1421554">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MEMORY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GPU </a:t>
                      </a:r>
                      <a:r>
                        <a:rPr lang="en-US" sz="800" kern="0" spc="200">
                          <a:solidFill>
                            <a:schemeClr val="tx1"/>
                          </a:solidFill>
                          <a:cs typeface="Segoe UI Semibold" panose="020B0702040204020203" pitchFamily="34" charset="0"/>
                        </a:rPr>
                        <a:t>ACCELERAT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HIGH PERFORMANCE COMPUTING </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spcBef>
                          <a:spcPct val="0"/>
                        </a:spcBef>
                        <a:spcAft>
                          <a:spcPts val="400"/>
                        </a:spcAft>
                        <a:buClrTx/>
                        <a:buSzTx/>
                        <a:buFontTx/>
                        <a:buNone/>
                        <a:tabLst/>
                        <a:defRPr/>
                      </a:pPr>
                      <a:r>
                        <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rPr>
                        <a:t>STORAGE </a:t>
                      </a:r>
                      <a:r>
                        <a:rPr lang="en-US" sz="800" kern="0" spc="200">
                          <a:solidFill>
                            <a:schemeClr val="tx1"/>
                          </a:solidFill>
                          <a:cs typeface="Segoe UI Semibold" panose="020B0702040204020203" pitchFamily="34" charset="0"/>
                        </a:rPr>
                        <a:t>OPTIMIZED</a:t>
                      </a:r>
                      <a:endParaRPr kumimoji="0" lang="en-US" sz="800" b="0" i="0" u="none" strike="noStrike" kern="0" cap="none" spc="200" normalizeH="0" baseline="0" noProof="0">
                        <a:ln>
                          <a:noFill/>
                        </a:ln>
                        <a:solidFill>
                          <a:schemeClr val="tx1"/>
                        </a:solidFill>
                        <a:effectLst/>
                        <a:uLnTx/>
                        <a:uFillTx/>
                        <a:ea typeface="+mn-ea"/>
                        <a:cs typeface="Segoe UI Semibold" panose="020B0702040204020203" pitchFamily="34" charset="0"/>
                      </a:endParaRP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96215" rtl="0" eaLnBrk="1" fontAlgn="base" latinLnBrk="0" hangingPunct="1">
                        <a:lnSpc>
                          <a:spcPct val="100000"/>
                        </a:lnSpc>
                        <a:spcBef>
                          <a:spcPct val="0"/>
                        </a:spcBef>
                        <a:spcAft>
                          <a:spcPts val="400"/>
                        </a:spcAft>
                        <a:buClrTx/>
                        <a:buSzTx/>
                        <a:buFontTx/>
                        <a:buNone/>
                        <a:tabLst/>
                        <a:defRPr/>
                      </a:pPr>
                      <a:r>
                        <a:rPr lang="en-US" sz="800" kern="0" spc="200" dirty="0">
                          <a:solidFill>
                            <a:schemeClr val="tx1"/>
                          </a:solidFill>
                          <a:cs typeface="Segoe UI Semibold" panose="020B0702040204020203" pitchFamily="34" charset="0"/>
                        </a:rPr>
                        <a:t>QUANTUM</a:t>
                      </a:r>
                    </a:p>
                  </a:txBody>
                  <a:tcPr marL="0" marR="0" marT="118872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379827"/>
                  </a:ext>
                </a:extLst>
              </a:tr>
            </a:tbl>
          </a:graphicData>
        </a:graphic>
      </p:graphicFrame>
      <p:sp>
        <p:nvSpPr>
          <p:cNvPr id="16" name="Title 15">
            <a:extLst>
              <a:ext uri="{FF2B5EF4-FFF2-40B4-BE49-F238E27FC236}">
                <a16:creationId xmlns:a16="http://schemas.microsoft.com/office/drawing/2014/main" id="{033E16BC-1B58-42FE-AB2E-9B3BB92AA29F}"/>
              </a:ext>
            </a:extLst>
          </p:cNvPr>
          <p:cNvSpPr>
            <a:spLocks noGrp="1"/>
          </p:cNvSpPr>
          <p:nvPr>
            <p:ph type="title"/>
          </p:nvPr>
        </p:nvSpPr>
        <p:spPr>
          <a:xfrm>
            <a:off x="456366" y="321831"/>
            <a:ext cx="11018520" cy="553998"/>
          </a:xfrm>
        </p:spPr>
        <p:txBody>
          <a:bodyPr/>
          <a:lstStyle/>
          <a:p>
            <a:pPr algn="l"/>
            <a:r>
              <a:rPr lang="en-US" spc="0" dirty="0">
                <a:ln>
                  <a:noFill/>
                </a:ln>
                <a:solidFill>
                  <a:srgbClr val="50E6FF"/>
                </a:solidFill>
                <a:latin typeface="Segoe UI Semibold"/>
                <a:ea typeface="+mj-ea"/>
                <a:cs typeface="+mj-cs"/>
              </a:rPr>
              <a:t>Best-in-class infrastructure for every workload</a:t>
            </a:r>
          </a:p>
        </p:txBody>
      </p:sp>
      <p:grpSp>
        <p:nvGrpSpPr>
          <p:cNvPr id="28" name="Group 27" descr="Purpose-Build: VMWare, SAP, Cray, NertApp">
            <a:extLst>
              <a:ext uri="{FF2B5EF4-FFF2-40B4-BE49-F238E27FC236}">
                <a16:creationId xmlns:a16="http://schemas.microsoft.com/office/drawing/2014/main" id="{FC29932A-B9C9-480C-ADDC-C1C533FA30D0}"/>
              </a:ext>
            </a:extLst>
          </p:cNvPr>
          <p:cNvGrpSpPr>
            <a:grpSpLocks noChangeAspect="1"/>
          </p:cNvGrpSpPr>
          <p:nvPr/>
        </p:nvGrpSpPr>
        <p:grpSpPr>
          <a:xfrm>
            <a:off x="9422060" y="3602500"/>
            <a:ext cx="1996308" cy="2343248"/>
            <a:chOff x="8582813" y="1425894"/>
            <a:chExt cx="3373582" cy="3959880"/>
          </a:xfrm>
        </p:grpSpPr>
        <p:grpSp>
          <p:nvGrpSpPr>
            <p:cNvPr id="243" name="Group 242">
              <a:extLst>
                <a:ext uri="{FF2B5EF4-FFF2-40B4-BE49-F238E27FC236}">
                  <a16:creationId xmlns:a16="http://schemas.microsoft.com/office/drawing/2014/main" id="{411E2F53-7F2A-48E6-85F8-0EC8A78F06CB}"/>
                </a:ext>
              </a:extLst>
            </p:cNvPr>
            <p:cNvGrpSpPr/>
            <p:nvPr/>
          </p:nvGrpSpPr>
          <p:grpSpPr>
            <a:xfrm>
              <a:off x="8582813" y="1425894"/>
              <a:ext cx="3373582" cy="286063"/>
              <a:chOff x="7032197" y="1650269"/>
              <a:chExt cx="3373582" cy="286063"/>
            </a:xfrm>
          </p:grpSpPr>
          <p:sp>
            <p:nvSpPr>
              <p:cNvPr id="244" name="Rectangle 3">
                <a:extLst>
                  <a:ext uri="{FF2B5EF4-FFF2-40B4-BE49-F238E27FC236}">
                    <a16:creationId xmlns:a16="http://schemas.microsoft.com/office/drawing/2014/main" id="{8F2175A2-D978-4640-938A-B57EE4048963}"/>
                  </a:ext>
                </a:extLst>
              </p:cNvPr>
              <p:cNvSpPr/>
              <p:nvPr/>
            </p:nvSpPr>
            <p:spPr bwMode="auto">
              <a:xfrm>
                <a:off x="7032197" y="1807348"/>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245" name="TextBox 244">
                <a:extLst>
                  <a:ext uri="{FF2B5EF4-FFF2-40B4-BE49-F238E27FC236}">
                    <a16:creationId xmlns:a16="http://schemas.microsoft.com/office/drawing/2014/main" id="{7E306CE2-8550-49B7-BB14-E99D6DD69598}"/>
                  </a:ext>
                </a:extLst>
              </p:cNvPr>
              <p:cNvSpPr txBox="1"/>
              <p:nvPr/>
            </p:nvSpPr>
            <p:spPr>
              <a:xfrm>
                <a:off x="7588688" y="1650269"/>
                <a:ext cx="2267324"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PURPOSE - BUILT</a:t>
                </a:r>
              </a:p>
            </p:txBody>
          </p:sp>
        </p:grpSp>
        <p:sp>
          <p:nvSpPr>
            <p:cNvPr id="246" name="Rectangle 3">
              <a:extLst>
                <a:ext uri="{FF2B5EF4-FFF2-40B4-BE49-F238E27FC236}">
                  <a16:creationId xmlns:a16="http://schemas.microsoft.com/office/drawing/2014/main" id="{127F0200-AFC6-4C58-884D-5215AF551134}"/>
                </a:ext>
              </a:extLst>
            </p:cNvPr>
            <p:cNvSpPr/>
            <p:nvPr/>
          </p:nvSpPr>
          <p:spPr bwMode="auto">
            <a:xfrm flipV="1">
              <a:off x="8582813" y="5284232"/>
              <a:ext cx="3373582" cy="101542"/>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0" name="Group 39" descr="Standard HDD">
            <a:extLst>
              <a:ext uri="{FF2B5EF4-FFF2-40B4-BE49-F238E27FC236}">
                <a16:creationId xmlns:a16="http://schemas.microsoft.com/office/drawing/2014/main" id="{47E9CE28-300C-449F-BA4D-F8D1F1E79A9C}"/>
              </a:ext>
            </a:extLst>
          </p:cNvPr>
          <p:cNvGrpSpPr/>
          <p:nvPr/>
        </p:nvGrpSpPr>
        <p:grpSpPr>
          <a:xfrm>
            <a:off x="1373214" y="5082383"/>
            <a:ext cx="1331271" cy="555677"/>
            <a:chOff x="1609010" y="4893073"/>
            <a:chExt cx="1331271" cy="555677"/>
          </a:xfrm>
        </p:grpSpPr>
        <p:grpSp>
          <p:nvGrpSpPr>
            <p:cNvPr id="265" name="Group 264">
              <a:extLst>
                <a:ext uri="{FF2B5EF4-FFF2-40B4-BE49-F238E27FC236}">
                  <a16:creationId xmlns:a16="http://schemas.microsoft.com/office/drawing/2014/main" id="{038BF938-24B6-4D94-BAD1-C3B226269770}"/>
                </a:ext>
              </a:extLst>
            </p:cNvPr>
            <p:cNvGrpSpPr/>
            <p:nvPr/>
          </p:nvGrpSpPr>
          <p:grpSpPr>
            <a:xfrm>
              <a:off x="1785432" y="4893073"/>
              <a:ext cx="978436" cy="270209"/>
              <a:chOff x="2490292" y="4146639"/>
              <a:chExt cx="1245205" cy="343882"/>
            </a:xfrm>
          </p:grpSpPr>
          <p:grpSp>
            <p:nvGrpSpPr>
              <p:cNvPr id="325" name="Group 324">
                <a:extLst>
                  <a:ext uri="{FF2B5EF4-FFF2-40B4-BE49-F238E27FC236}">
                    <a16:creationId xmlns:a16="http://schemas.microsoft.com/office/drawing/2014/main" id="{6DAE9A1D-4B6D-49A5-A335-61AA76F846E4}"/>
                  </a:ext>
                </a:extLst>
              </p:cNvPr>
              <p:cNvGrpSpPr/>
              <p:nvPr/>
            </p:nvGrpSpPr>
            <p:grpSpPr>
              <a:xfrm>
                <a:off x="2490292" y="4146639"/>
                <a:ext cx="343800" cy="343882"/>
                <a:chOff x="4354130" y="2075422"/>
                <a:chExt cx="350694" cy="350778"/>
              </a:xfrm>
            </p:grpSpPr>
            <p:sp>
              <p:nvSpPr>
                <p:cNvPr id="334" name="StorageOptical_E958" title="Icon of a hard disk">
                  <a:extLst>
                    <a:ext uri="{FF2B5EF4-FFF2-40B4-BE49-F238E27FC236}">
                      <a16:creationId xmlns:a16="http://schemas.microsoft.com/office/drawing/2014/main" id="{92376752-3833-4575-8A7E-B01E4A760D0B}"/>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5" name="Straight Connector 334">
                  <a:extLst>
                    <a:ext uri="{FF2B5EF4-FFF2-40B4-BE49-F238E27FC236}">
                      <a16:creationId xmlns:a16="http://schemas.microsoft.com/office/drawing/2014/main" id="{A1A4DED9-4BF9-4D18-A998-F6F645EBE8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6" name="Straight Connector 335">
                  <a:extLst>
                    <a:ext uri="{FF2B5EF4-FFF2-40B4-BE49-F238E27FC236}">
                      <a16:creationId xmlns:a16="http://schemas.microsoft.com/office/drawing/2014/main" id="{8F49A235-A89B-47FE-A8A9-E049889F1E69}"/>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6" name="Group 325">
                <a:extLst>
                  <a:ext uri="{FF2B5EF4-FFF2-40B4-BE49-F238E27FC236}">
                    <a16:creationId xmlns:a16="http://schemas.microsoft.com/office/drawing/2014/main" id="{9094BED3-85A2-4B84-8D29-8B719E3DBCA6}"/>
                  </a:ext>
                </a:extLst>
              </p:cNvPr>
              <p:cNvGrpSpPr/>
              <p:nvPr/>
            </p:nvGrpSpPr>
            <p:grpSpPr>
              <a:xfrm>
                <a:off x="2940994" y="4146639"/>
                <a:ext cx="343800" cy="343882"/>
                <a:chOff x="4354130" y="2075422"/>
                <a:chExt cx="350694" cy="350778"/>
              </a:xfrm>
            </p:grpSpPr>
            <p:sp>
              <p:nvSpPr>
                <p:cNvPr id="331" name="StorageOptical_E958" title="Icon of a hard disk">
                  <a:extLst>
                    <a:ext uri="{FF2B5EF4-FFF2-40B4-BE49-F238E27FC236}">
                      <a16:creationId xmlns:a16="http://schemas.microsoft.com/office/drawing/2014/main" id="{EC73FA93-65A6-418E-9319-8DD645022031}"/>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32" name="Straight Connector 331">
                  <a:extLst>
                    <a:ext uri="{FF2B5EF4-FFF2-40B4-BE49-F238E27FC236}">
                      <a16:creationId xmlns:a16="http://schemas.microsoft.com/office/drawing/2014/main" id="{6A1BCC01-D0B3-4185-979E-2E2616AE2C34}"/>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3" name="Straight Connector 332">
                  <a:extLst>
                    <a:ext uri="{FF2B5EF4-FFF2-40B4-BE49-F238E27FC236}">
                      <a16:creationId xmlns:a16="http://schemas.microsoft.com/office/drawing/2014/main" id="{42E29769-05A7-4191-A6B0-42563D569C34}"/>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nvGrpSpPr>
              <p:cNvPr id="327" name="Group 326">
                <a:extLst>
                  <a:ext uri="{FF2B5EF4-FFF2-40B4-BE49-F238E27FC236}">
                    <a16:creationId xmlns:a16="http://schemas.microsoft.com/office/drawing/2014/main" id="{7593AB04-2DE0-44A6-A99C-AF535A2AAD22}"/>
                  </a:ext>
                </a:extLst>
              </p:cNvPr>
              <p:cNvGrpSpPr/>
              <p:nvPr/>
            </p:nvGrpSpPr>
            <p:grpSpPr>
              <a:xfrm>
                <a:off x="3391697" y="4146639"/>
                <a:ext cx="343800" cy="343882"/>
                <a:chOff x="4354130" y="2075422"/>
                <a:chExt cx="350694" cy="350778"/>
              </a:xfrm>
            </p:grpSpPr>
            <p:sp>
              <p:nvSpPr>
                <p:cNvPr id="328" name="StorageOptical_E958" title="Icon of a hard disk">
                  <a:extLst>
                    <a:ext uri="{FF2B5EF4-FFF2-40B4-BE49-F238E27FC236}">
                      <a16:creationId xmlns:a16="http://schemas.microsoft.com/office/drawing/2014/main" id="{5069E751-4F2F-414A-906E-761AFFB2D58C}"/>
                    </a:ext>
                  </a:extLst>
                </p:cNvPr>
                <p:cNvSpPr>
                  <a:spLocks noChangeAspect="1" noEditPoints="1"/>
                </p:cNvSpPr>
                <p:nvPr/>
              </p:nvSpPr>
              <p:spPr bwMode="auto">
                <a:xfrm>
                  <a:off x="4354130" y="2075422"/>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cxnSp>
              <p:nvCxnSpPr>
                <p:cNvPr id="329" name="Straight Connector 328">
                  <a:extLst>
                    <a:ext uri="{FF2B5EF4-FFF2-40B4-BE49-F238E27FC236}">
                      <a16:creationId xmlns:a16="http://schemas.microsoft.com/office/drawing/2014/main" id="{346F47AF-67ED-48BE-BAF9-BEB38ACCA972}"/>
                    </a:ext>
                  </a:extLst>
                </p:cNvPr>
                <p:cNvCxnSpPr>
                  <a:cxnSpLocks/>
                </p:cNvCxnSpPr>
                <p:nvPr/>
              </p:nvCxnSpPr>
              <p:spPr>
                <a:xfrm>
                  <a:off x="4431937" y="2153247"/>
                  <a:ext cx="42551" cy="42561"/>
                </a:xfrm>
                <a:prstGeom prst="line">
                  <a:avLst/>
                </a:prstGeom>
                <a:noFill/>
                <a:ln w="19050" cap="sq" cmpd="sng" algn="ctr">
                  <a:solidFill>
                    <a:srgbClr val="75757A"/>
                  </a:solidFill>
                  <a:prstDash val="solid"/>
                  <a:miter lim="800000"/>
                  <a:headEnd type="none" w="lg" len="med"/>
                  <a:tailEnd type="none" w="lg" len="med"/>
                </a:ln>
                <a:effectLst/>
              </p:spPr>
            </p:cxnSp>
            <p:cxnSp>
              <p:nvCxnSpPr>
                <p:cNvPr id="330" name="Straight Connector 329">
                  <a:extLst>
                    <a:ext uri="{FF2B5EF4-FFF2-40B4-BE49-F238E27FC236}">
                      <a16:creationId xmlns:a16="http://schemas.microsoft.com/office/drawing/2014/main" id="{F22DC036-E291-4C0A-B274-B5EF5D700D10}"/>
                    </a:ext>
                  </a:extLst>
                </p:cNvPr>
                <p:cNvCxnSpPr>
                  <a:cxnSpLocks/>
                </p:cNvCxnSpPr>
                <p:nvPr/>
              </p:nvCxnSpPr>
              <p:spPr>
                <a:xfrm>
                  <a:off x="4584466" y="2305813"/>
                  <a:ext cx="42551" cy="42561"/>
                </a:xfrm>
                <a:prstGeom prst="line">
                  <a:avLst/>
                </a:prstGeom>
                <a:noFill/>
                <a:ln w="19050" cap="sq" cmpd="sng" algn="ctr">
                  <a:solidFill>
                    <a:srgbClr val="75757A"/>
                  </a:solidFill>
                  <a:prstDash val="solid"/>
                  <a:miter lim="800000"/>
                  <a:headEnd type="none" w="lg" len="med"/>
                  <a:tailEnd type="none" w="lg" len="med"/>
                </a:ln>
                <a:effectLst/>
              </p:spPr>
            </p:cxnSp>
          </p:grpSp>
        </p:grpSp>
        <p:sp>
          <p:nvSpPr>
            <p:cNvPr id="266" name="TextBox 265">
              <a:extLst>
                <a:ext uri="{FF2B5EF4-FFF2-40B4-BE49-F238E27FC236}">
                  <a16:creationId xmlns:a16="http://schemas.microsoft.com/office/drawing/2014/main" id="{2939F24E-EFE8-43FD-8111-BF35106BAAEF}"/>
                </a:ext>
              </a:extLst>
            </p:cNvPr>
            <p:cNvSpPr txBox="1"/>
            <p:nvPr/>
          </p:nvSpPr>
          <p:spPr>
            <a:xfrm>
              <a:off x="1609010" y="5244481"/>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HDD</a:t>
              </a:r>
            </a:p>
          </p:txBody>
        </p:sp>
      </p:grpSp>
      <p:grpSp>
        <p:nvGrpSpPr>
          <p:cNvPr id="39" name="Group 38" descr="Standard SSD">
            <a:extLst>
              <a:ext uri="{FF2B5EF4-FFF2-40B4-BE49-F238E27FC236}">
                <a16:creationId xmlns:a16="http://schemas.microsoft.com/office/drawing/2014/main" id="{6E832B19-1F19-4157-B106-4F412644E3AC}"/>
              </a:ext>
            </a:extLst>
          </p:cNvPr>
          <p:cNvGrpSpPr/>
          <p:nvPr/>
        </p:nvGrpSpPr>
        <p:grpSpPr>
          <a:xfrm>
            <a:off x="3127888" y="5021361"/>
            <a:ext cx="1310140" cy="610508"/>
            <a:chOff x="3009911" y="4832051"/>
            <a:chExt cx="1310140" cy="610508"/>
          </a:xfrm>
        </p:grpSpPr>
        <p:grpSp>
          <p:nvGrpSpPr>
            <p:cNvPr id="262" name="Group 261">
              <a:extLst>
                <a:ext uri="{FF2B5EF4-FFF2-40B4-BE49-F238E27FC236}">
                  <a16:creationId xmlns:a16="http://schemas.microsoft.com/office/drawing/2014/main" id="{A7AB86C3-8A8A-4AA6-AD80-865BEE42DF34}"/>
                </a:ext>
              </a:extLst>
            </p:cNvPr>
            <p:cNvGrpSpPr/>
            <p:nvPr/>
          </p:nvGrpSpPr>
          <p:grpSpPr>
            <a:xfrm>
              <a:off x="3169962" y="4832051"/>
              <a:ext cx="990038" cy="335753"/>
              <a:chOff x="4421965" y="4051011"/>
              <a:chExt cx="1259973" cy="427296"/>
            </a:xfrm>
          </p:grpSpPr>
          <p:grpSp>
            <p:nvGrpSpPr>
              <p:cNvPr id="385" name="Group 384">
                <a:extLst>
                  <a:ext uri="{FF2B5EF4-FFF2-40B4-BE49-F238E27FC236}">
                    <a16:creationId xmlns:a16="http://schemas.microsoft.com/office/drawing/2014/main" id="{20C3130F-89C3-4A60-9BB5-A99B17704D6F}"/>
                  </a:ext>
                </a:extLst>
              </p:cNvPr>
              <p:cNvGrpSpPr>
                <a:grpSpLocks noChangeAspect="1"/>
              </p:cNvGrpSpPr>
              <p:nvPr/>
            </p:nvGrpSpPr>
            <p:grpSpPr>
              <a:xfrm>
                <a:off x="4421965" y="4051011"/>
                <a:ext cx="358571" cy="427296"/>
                <a:chOff x="5477750" y="5013499"/>
                <a:chExt cx="268565" cy="320040"/>
              </a:xfrm>
            </p:grpSpPr>
            <p:grpSp>
              <p:nvGrpSpPr>
                <p:cNvPr id="410" name="Group 409">
                  <a:extLst>
                    <a:ext uri="{FF2B5EF4-FFF2-40B4-BE49-F238E27FC236}">
                      <a16:creationId xmlns:a16="http://schemas.microsoft.com/office/drawing/2014/main" id="{9482FB59-B92B-4B7E-BA56-EDA6BFD8D9C2}"/>
                    </a:ext>
                  </a:extLst>
                </p:cNvPr>
                <p:cNvGrpSpPr/>
                <p:nvPr/>
              </p:nvGrpSpPr>
              <p:grpSpPr>
                <a:xfrm>
                  <a:off x="5477750" y="5013499"/>
                  <a:ext cx="268565" cy="320040"/>
                  <a:chOff x="5477750" y="5010341"/>
                  <a:chExt cx="268565" cy="320040"/>
                </a:xfrm>
              </p:grpSpPr>
              <p:sp>
                <p:nvSpPr>
                  <p:cNvPr id="415" name="Freeform 5">
                    <a:extLst>
                      <a:ext uri="{FF2B5EF4-FFF2-40B4-BE49-F238E27FC236}">
                        <a16:creationId xmlns:a16="http://schemas.microsoft.com/office/drawing/2014/main" id="{59B60A78-7F11-4833-B523-2F37B9723218}"/>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94FA5368-3391-4EFC-A700-FD2896A8C403}"/>
                      </a:ext>
                    </a:extLst>
                  </p:cNvPr>
                  <p:cNvGrpSpPr/>
                  <p:nvPr/>
                </p:nvGrpSpPr>
                <p:grpSpPr>
                  <a:xfrm>
                    <a:off x="5518161" y="5046557"/>
                    <a:ext cx="187770" cy="208407"/>
                    <a:chOff x="5513643" y="5046557"/>
                    <a:chExt cx="187770" cy="208407"/>
                  </a:xfrm>
                  <a:solidFill>
                    <a:srgbClr val="0078D3"/>
                  </a:solidFill>
                </p:grpSpPr>
                <p:sp>
                  <p:nvSpPr>
                    <p:cNvPr id="417" name="Oval 416">
                      <a:extLst>
                        <a:ext uri="{FF2B5EF4-FFF2-40B4-BE49-F238E27FC236}">
                          <a16:creationId xmlns:a16="http://schemas.microsoft.com/office/drawing/2014/main" id="{2A4781EE-8B12-4B9C-904D-6B9EE18F32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Oval 417">
                      <a:extLst>
                        <a:ext uri="{FF2B5EF4-FFF2-40B4-BE49-F238E27FC236}">
                          <a16:creationId xmlns:a16="http://schemas.microsoft.com/office/drawing/2014/main" id="{3D23D064-981C-4724-BB2D-9E402D0A933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9" name="Oval 418">
                      <a:extLst>
                        <a:ext uri="{FF2B5EF4-FFF2-40B4-BE49-F238E27FC236}">
                          <a16:creationId xmlns:a16="http://schemas.microsoft.com/office/drawing/2014/main" id="{CAA7385C-4E7E-4D61-88D5-7D7D5DB20FD5}"/>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Oval 419">
                      <a:extLst>
                        <a:ext uri="{FF2B5EF4-FFF2-40B4-BE49-F238E27FC236}">
                          <a16:creationId xmlns:a16="http://schemas.microsoft.com/office/drawing/2014/main" id="{DCA35600-251E-4131-97D7-AA6544E1C3C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A480325C-6B11-4619-9B7B-227ED7715D3F}"/>
                    </a:ext>
                  </a:extLst>
                </p:cNvPr>
                <p:cNvGrpSpPr/>
                <p:nvPr/>
              </p:nvGrpSpPr>
              <p:grpSpPr>
                <a:xfrm>
                  <a:off x="5571787" y="5284616"/>
                  <a:ext cx="80519" cy="48923"/>
                  <a:chOff x="5884568" y="5297481"/>
                  <a:chExt cx="80519" cy="48923"/>
                </a:xfrm>
              </p:grpSpPr>
              <p:sp>
                <p:nvSpPr>
                  <p:cNvPr id="412" name="Line 7">
                    <a:extLst>
                      <a:ext uri="{FF2B5EF4-FFF2-40B4-BE49-F238E27FC236}">
                        <a16:creationId xmlns:a16="http://schemas.microsoft.com/office/drawing/2014/main" id="{D479A9BE-55E4-4C64-A17C-F62877A5A1C8}"/>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3" name="Line 8">
                    <a:extLst>
                      <a:ext uri="{FF2B5EF4-FFF2-40B4-BE49-F238E27FC236}">
                        <a16:creationId xmlns:a16="http://schemas.microsoft.com/office/drawing/2014/main" id="{5968F365-93AB-4A70-ADFC-77F4DEE3B3B5}"/>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14" name="Line 9">
                    <a:extLst>
                      <a:ext uri="{FF2B5EF4-FFF2-40B4-BE49-F238E27FC236}">
                        <a16:creationId xmlns:a16="http://schemas.microsoft.com/office/drawing/2014/main" id="{7DC2B09E-7110-40B2-A11D-E1C8A77D1A22}"/>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6" name="Group 385">
                <a:extLst>
                  <a:ext uri="{FF2B5EF4-FFF2-40B4-BE49-F238E27FC236}">
                    <a16:creationId xmlns:a16="http://schemas.microsoft.com/office/drawing/2014/main" id="{6EB87F42-62E7-4127-B9CE-43A70BEB6086}"/>
                  </a:ext>
                </a:extLst>
              </p:cNvPr>
              <p:cNvGrpSpPr>
                <a:grpSpLocks noChangeAspect="1"/>
              </p:cNvGrpSpPr>
              <p:nvPr/>
            </p:nvGrpSpPr>
            <p:grpSpPr>
              <a:xfrm>
                <a:off x="4872665" y="4051011"/>
                <a:ext cx="358569" cy="427296"/>
                <a:chOff x="5477779" y="5013499"/>
                <a:chExt cx="268565" cy="320040"/>
              </a:xfrm>
            </p:grpSpPr>
            <p:grpSp>
              <p:nvGrpSpPr>
                <p:cNvPr id="399" name="Group 398">
                  <a:extLst>
                    <a:ext uri="{FF2B5EF4-FFF2-40B4-BE49-F238E27FC236}">
                      <a16:creationId xmlns:a16="http://schemas.microsoft.com/office/drawing/2014/main" id="{40298EF9-0C99-4998-A6FE-2565593D3B07}"/>
                    </a:ext>
                  </a:extLst>
                </p:cNvPr>
                <p:cNvGrpSpPr/>
                <p:nvPr/>
              </p:nvGrpSpPr>
              <p:grpSpPr>
                <a:xfrm>
                  <a:off x="5477779" y="5013499"/>
                  <a:ext cx="268565" cy="320040"/>
                  <a:chOff x="5477779" y="5010341"/>
                  <a:chExt cx="268565" cy="320040"/>
                </a:xfrm>
              </p:grpSpPr>
              <p:sp>
                <p:nvSpPr>
                  <p:cNvPr id="404" name="Freeform 5">
                    <a:extLst>
                      <a:ext uri="{FF2B5EF4-FFF2-40B4-BE49-F238E27FC236}">
                        <a16:creationId xmlns:a16="http://schemas.microsoft.com/office/drawing/2014/main" id="{15A99CA5-2538-4DE8-B0AE-0205578B02C5}"/>
                      </a:ext>
                    </a:extLst>
                  </p:cNvPr>
                  <p:cNvSpPr>
                    <a:spLocks/>
                  </p:cNvSpPr>
                  <p:nvPr/>
                </p:nvSpPr>
                <p:spPr bwMode="auto">
                  <a:xfrm>
                    <a:off x="5477779"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312C5F7F-3A01-478D-8BDC-32B91D8B5893}"/>
                      </a:ext>
                    </a:extLst>
                  </p:cNvPr>
                  <p:cNvGrpSpPr/>
                  <p:nvPr/>
                </p:nvGrpSpPr>
                <p:grpSpPr>
                  <a:xfrm>
                    <a:off x="5518161" y="5046557"/>
                    <a:ext cx="187770" cy="208407"/>
                    <a:chOff x="5513643" y="5046557"/>
                    <a:chExt cx="187770" cy="208407"/>
                  </a:xfrm>
                  <a:solidFill>
                    <a:srgbClr val="0078D3"/>
                  </a:solidFill>
                </p:grpSpPr>
                <p:sp>
                  <p:nvSpPr>
                    <p:cNvPr id="406" name="Oval 405">
                      <a:extLst>
                        <a:ext uri="{FF2B5EF4-FFF2-40B4-BE49-F238E27FC236}">
                          <a16:creationId xmlns:a16="http://schemas.microsoft.com/office/drawing/2014/main" id="{7E49AD01-E182-4BA2-ACC8-2B75E3A104FE}"/>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Oval 406">
                      <a:extLst>
                        <a:ext uri="{FF2B5EF4-FFF2-40B4-BE49-F238E27FC236}">
                          <a16:creationId xmlns:a16="http://schemas.microsoft.com/office/drawing/2014/main" id="{8B462239-7FDC-4F04-8FE8-A20BCFB98AC7}"/>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Oval 407">
                      <a:extLst>
                        <a:ext uri="{FF2B5EF4-FFF2-40B4-BE49-F238E27FC236}">
                          <a16:creationId xmlns:a16="http://schemas.microsoft.com/office/drawing/2014/main" id="{754DB007-82C6-4029-838D-42705597FFD6}"/>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Oval 408">
                      <a:extLst>
                        <a:ext uri="{FF2B5EF4-FFF2-40B4-BE49-F238E27FC236}">
                          <a16:creationId xmlns:a16="http://schemas.microsoft.com/office/drawing/2014/main" id="{6460DC75-7829-4109-9274-900316271D31}"/>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00" name="Group 399">
                  <a:extLst>
                    <a:ext uri="{FF2B5EF4-FFF2-40B4-BE49-F238E27FC236}">
                      <a16:creationId xmlns:a16="http://schemas.microsoft.com/office/drawing/2014/main" id="{C467BA10-2487-49B8-89CC-5F9C0B68FE54}"/>
                    </a:ext>
                  </a:extLst>
                </p:cNvPr>
                <p:cNvGrpSpPr/>
                <p:nvPr/>
              </p:nvGrpSpPr>
              <p:grpSpPr>
                <a:xfrm>
                  <a:off x="5571787" y="5284616"/>
                  <a:ext cx="80519" cy="48923"/>
                  <a:chOff x="5884568" y="5297481"/>
                  <a:chExt cx="80519" cy="48923"/>
                </a:xfrm>
              </p:grpSpPr>
              <p:sp>
                <p:nvSpPr>
                  <p:cNvPr id="401" name="Line 7">
                    <a:extLst>
                      <a:ext uri="{FF2B5EF4-FFF2-40B4-BE49-F238E27FC236}">
                        <a16:creationId xmlns:a16="http://schemas.microsoft.com/office/drawing/2014/main" id="{39D7C2B8-D7A5-4186-ADD5-A572459E72F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2" name="Line 8">
                    <a:extLst>
                      <a:ext uri="{FF2B5EF4-FFF2-40B4-BE49-F238E27FC236}">
                        <a16:creationId xmlns:a16="http://schemas.microsoft.com/office/drawing/2014/main" id="{95E2CE8C-95C0-4BC3-822C-06F2D08C32E2}"/>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403" name="Line 9">
                    <a:extLst>
                      <a:ext uri="{FF2B5EF4-FFF2-40B4-BE49-F238E27FC236}">
                        <a16:creationId xmlns:a16="http://schemas.microsoft.com/office/drawing/2014/main" id="{BE9090D8-2A81-4464-A29E-08772255E390}"/>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87" name="Group 386">
                <a:extLst>
                  <a:ext uri="{FF2B5EF4-FFF2-40B4-BE49-F238E27FC236}">
                    <a16:creationId xmlns:a16="http://schemas.microsoft.com/office/drawing/2014/main" id="{88ADAF40-CBCD-4814-99D9-B0A5379E0364}"/>
                  </a:ext>
                </a:extLst>
              </p:cNvPr>
              <p:cNvGrpSpPr>
                <a:grpSpLocks noChangeAspect="1"/>
              </p:cNvGrpSpPr>
              <p:nvPr/>
            </p:nvGrpSpPr>
            <p:grpSpPr>
              <a:xfrm>
                <a:off x="5323367" y="4051011"/>
                <a:ext cx="358571" cy="427296"/>
                <a:chOff x="5477750" y="5013499"/>
                <a:chExt cx="268565" cy="320040"/>
              </a:xfrm>
            </p:grpSpPr>
            <p:grpSp>
              <p:nvGrpSpPr>
                <p:cNvPr id="388" name="Group 387">
                  <a:extLst>
                    <a:ext uri="{FF2B5EF4-FFF2-40B4-BE49-F238E27FC236}">
                      <a16:creationId xmlns:a16="http://schemas.microsoft.com/office/drawing/2014/main" id="{6F73BE2E-321A-4CC9-B327-3B69FCA057FC}"/>
                    </a:ext>
                  </a:extLst>
                </p:cNvPr>
                <p:cNvGrpSpPr/>
                <p:nvPr/>
              </p:nvGrpSpPr>
              <p:grpSpPr>
                <a:xfrm>
                  <a:off x="5477750" y="5013499"/>
                  <a:ext cx="268565" cy="320040"/>
                  <a:chOff x="5477750" y="5010341"/>
                  <a:chExt cx="268565" cy="320040"/>
                </a:xfrm>
              </p:grpSpPr>
              <p:sp>
                <p:nvSpPr>
                  <p:cNvPr id="393" name="Freeform 5">
                    <a:extLst>
                      <a:ext uri="{FF2B5EF4-FFF2-40B4-BE49-F238E27FC236}">
                        <a16:creationId xmlns:a16="http://schemas.microsoft.com/office/drawing/2014/main" id="{641EA31E-A60C-4CEB-B949-3255DE63A856}"/>
                      </a:ext>
                    </a:extLst>
                  </p:cNvPr>
                  <p:cNvSpPr>
                    <a:spLocks/>
                  </p:cNvSpPr>
                  <p:nvPr/>
                </p:nvSpPr>
                <p:spPr bwMode="auto">
                  <a:xfrm>
                    <a:off x="5477750"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94" name="Group 393">
                    <a:extLst>
                      <a:ext uri="{FF2B5EF4-FFF2-40B4-BE49-F238E27FC236}">
                        <a16:creationId xmlns:a16="http://schemas.microsoft.com/office/drawing/2014/main" id="{3876DC1F-44B7-44DB-8195-0FB8821FD42D}"/>
                      </a:ext>
                    </a:extLst>
                  </p:cNvPr>
                  <p:cNvGrpSpPr/>
                  <p:nvPr/>
                </p:nvGrpSpPr>
                <p:grpSpPr>
                  <a:xfrm>
                    <a:off x="5518161" y="5046557"/>
                    <a:ext cx="187770" cy="208407"/>
                    <a:chOff x="5513643" y="5046557"/>
                    <a:chExt cx="187770" cy="208407"/>
                  </a:xfrm>
                  <a:solidFill>
                    <a:srgbClr val="0078D3"/>
                  </a:solidFill>
                </p:grpSpPr>
                <p:sp>
                  <p:nvSpPr>
                    <p:cNvPr id="395" name="Oval 394">
                      <a:extLst>
                        <a:ext uri="{FF2B5EF4-FFF2-40B4-BE49-F238E27FC236}">
                          <a16:creationId xmlns:a16="http://schemas.microsoft.com/office/drawing/2014/main" id="{8F5CB688-A66E-4759-8598-069B10E0BFE0}"/>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Oval 395">
                      <a:extLst>
                        <a:ext uri="{FF2B5EF4-FFF2-40B4-BE49-F238E27FC236}">
                          <a16:creationId xmlns:a16="http://schemas.microsoft.com/office/drawing/2014/main" id="{C741B975-DD42-4E10-B91E-0B979D46A98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a:extLst>
                        <a:ext uri="{FF2B5EF4-FFF2-40B4-BE49-F238E27FC236}">
                          <a16:creationId xmlns:a16="http://schemas.microsoft.com/office/drawing/2014/main" id="{83E1FFE8-9C1D-475F-BA58-B12688FF4F6E}"/>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Oval 397">
                      <a:extLst>
                        <a:ext uri="{FF2B5EF4-FFF2-40B4-BE49-F238E27FC236}">
                          <a16:creationId xmlns:a16="http://schemas.microsoft.com/office/drawing/2014/main" id="{6CE07B89-6C68-4206-870D-707A27D0F292}"/>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9" name="Group 388">
                  <a:extLst>
                    <a:ext uri="{FF2B5EF4-FFF2-40B4-BE49-F238E27FC236}">
                      <a16:creationId xmlns:a16="http://schemas.microsoft.com/office/drawing/2014/main" id="{C18BF50B-8A24-4C55-9BD0-F5B43967B412}"/>
                    </a:ext>
                  </a:extLst>
                </p:cNvPr>
                <p:cNvGrpSpPr/>
                <p:nvPr/>
              </p:nvGrpSpPr>
              <p:grpSpPr>
                <a:xfrm>
                  <a:off x="5571787" y="5284616"/>
                  <a:ext cx="80519" cy="48923"/>
                  <a:chOff x="5884568" y="5297481"/>
                  <a:chExt cx="80519" cy="48923"/>
                </a:xfrm>
              </p:grpSpPr>
              <p:sp>
                <p:nvSpPr>
                  <p:cNvPr id="390" name="Line 7">
                    <a:extLst>
                      <a:ext uri="{FF2B5EF4-FFF2-40B4-BE49-F238E27FC236}">
                        <a16:creationId xmlns:a16="http://schemas.microsoft.com/office/drawing/2014/main" id="{CBDA67D1-808C-451C-B506-8B7172A99D13}"/>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1" name="Line 8">
                    <a:extLst>
                      <a:ext uri="{FF2B5EF4-FFF2-40B4-BE49-F238E27FC236}">
                        <a16:creationId xmlns:a16="http://schemas.microsoft.com/office/drawing/2014/main" id="{2E359386-29D9-4BDB-9D2E-ED30E7F3487F}"/>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92" name="Line 9">
                    <a:extLst>
                      <a:ext uri="{FF2B5EF4-FFF2-40B4-BE49-F238E27FC236}">
                        <a16:creationId xmlns:a16="http://schemas.microsoft.com/office/drawing/2014/main" id="{EAFD60A5-04F4-4FD3-AEDC-369EE0F08004}"/>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sp>
          <p:nvSpPr>
            <p:cNvPr id="267" name="TextBox 266">
              <a:extLst>
                <a:ext uri="{FF2B5EF4-FFF2-40B4-BE49-F238E27FC236}">
                  <a16:creationId xmlns:a16="http://schemas.microsoft.com/office/drawing/2014/main" id="{21C2E165-B095-4209-8531-6BFF07102560}"/>
                </a:ext>
              </a:extLst>
            </p:cNvPr>
            <p:cNvSpPr txBox="1"/>
            <p:nvPr/>
          </p:nvSpPr>
          <p:spPr>
            <a:xfrm>
              <a:off x="3009911" y="5238290"/>
              <a:ext cx="1310140"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Standard SSD</a:t>
              </a:r>
            </a:p>
          </p:txBody>
        </p:sp>
      </p:grpSp>
      <p:grpSp>
        <p:nvGrpSpPr>
          <p:cNvPr id="38" name="Group 37" descr="Premium SSD">
            <a:extLst>
              <a:ext uri="{FF2B5EF4-FFF2-40B4-BE49-F238E27FC236}">
                <a16:creationId xmlns:a16="http://schemas.microsoft.com/office/drawing/2014/main" id="{97B211B1-6E2E-47F9-9EAB-C407F7F8973E}"/>
              </a:ext>
            </a:extLst>
          </p:cNvPr>
          <p:cNvGrpSpPr/>
          <p:nvPr/>
        </p:nvGrpSpPr>
        <p:grpSpPr>
          <a:xfrm>
            <a:off x="4841553" y="5011447"/>
            <a:ext cx="1331271" cy="660315"/>
            <a:chOff x="4314152" y="4822137"/>
            <a:chExt cx="1331271" cy="660315"/>
          </a:xfrm>
        </p:grpSpPr>
        <p:grpSp>
          <p:nvGrpSpPr>
            <p:cNvPr id="264" name="Group 263">
              <a:extLst>
                <a:ext uri="{FF2B5EF4-FFF2-40B4-BE49-F238E27FC236}">
                  <a16:creationId xmlns:a16="http://schemas.microsoft.com/office/drawing/2014/main" id="{C8A23C6D-40C0-450F-BF4D-ABBF844A957B}"/>
                </a:ext>
              </a:extLst>
            </p:cNvPr>
            <p:cNvGrpSpPr/>
            <p:nvPr/>
          </p:nvGrpSpPr>
          <p:grpSpPr>
            <a:xfrm>
              <a:off x="4448600" y="4822137"/>
              <a:ext cx="1102130" cy="448257"/>
              <a:chOff x="6332609" y="4051011"/>
              <a:chExt cx="1402627" cy="570475"/>
            </a:xfrm>
          </p:grpSpPr>
          <p:grpSp>
            <p:nvGrpSpPr>
              <p:cNvPr id="337" name="Group 336">
                <a:extLst>
                  <a:ext uri="{FF2B5EF4-FFF2-40B4-BE49-F238E27FC236}">
                    <a16:creationId xmlns:a16="http://schemas.microsoft.com/office/drawing/2014/main" id="{D7F4527E-1D5F-4353-A740-5CE028C0D0ED}"/>
                  </a:ext>
                </a:extLst>
              </p:cNvPr>
              <p:cNvGrpSpPr/>
              <p:nvPr/>
            </p:nvGrpSpPr>
            <p:grpSpPr>
              <a:xfrm>
                <a:off x="7234013" y="4051011"/>
                <a:ext cx="501223" cy="570475"/>
                <a:chOff x="8618441" y="2851722"/>
                <a:chExt cx="511273" cy="581914"/>
              </a:xfrm>
            </p:grpSpPr>
            <p:grpSp>
              <p:nvGrpSpPr>
                <p:cNvPr id="370" name="Group 369">
                  <a:extLst>
                    <a:ext uri="{FF2B5EF4-FFF2-40B4-BE49-F238E27FC236}">
                      <a16:creationId xmlns:a16="http://schemas.microsoft.com/office/drawing/2014/main" id="{C90AC4C5-D252-43DB-A470-FBF047BD9438}"/>
                    </a:ext>
                  </a:extLst>
                </p:cNvPr>
                <p:cNvGrpSpPr>
                  <a:grpSpLocks noChangeAspect="1"/>
                </p:cNvGrpSpPr>
                <p:nvPr/>
              </p:nvGrpSpPr>
              <p:grpSpPr>
                <a:xfrm>
                  <a:off x="8618441" y="2851722"/>
                  <a:ext cx="365760" cy="435864"/>
                  <a:chOff x="5477764" y="5013499"/>
                  <a:chExt cx="268565" cy="320040"/>
                </a:xfrm>
              </p:grpSpPr>
              <p:grpSp>
                <p:nvGrpSpPr>
                  <p:cNvPr id="374" name="Group 373">
                    <a:extLst>
                      <a:ext uri="{FF2B5EF4-FFF2-40B4-BE49-F238E27FC236}">
                        <a16:creationId xmlns:a16="http://schemas.microsoft.com/office/drawing/2014/main" id="{7F525FEA-8C53-4847-BA1F-6732F11EE532}"/>
                      </a:ext>
                    </a:extLst>
                  </p:cNvPr>
                  <p:cNvGrpSpPr/>
                  <p:nvPr/>
                </p:nvGrpSpPr>
                <p:grpSpPr>
                  <a:xfrm>
                    <a:off x="5477764" y="5013499"/>
                    <a:ext cx="268565" cy="320040"/>
                    <a:chOff x="5477764" y="5010341"/>
                    <a:chExt cx="268565" cy="320040"/>
                  </a:xfrm>
                </p:grpSpPr>
                <p:sp>
                  <p:nvSpPr>
                    <p:cNvPr id="379" name="Freeform 5">
                      <a:extLst>
                        <a:ext uri="{FF2B5EF4-FFF2-40B4-BE49-F238E27FC236}">
                          <a16:creationId xmlns:a16="http://schemas.microsoft.com/office/drawing/2014/main" id="{EE3126C5-5428-4144-BBB4-A3059611372E}"/>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1333F6E-298A-48AE-87A3-8ABE4001F735}"/>
                        </a:ext>
                      </a:extLst>
                    </p:cNvPr>
                    <p:cNvGrpSpPr/>
                    <p:nvPr/>
                  </p:nvGrpSpPr>
                  <p:grpSpPr>
                    <a:xfrm>
                      <a:off x="5518161" y="5046557"/>
                      <a:ext cx="187770" cy="208407"/>
                      <a:chOff x="5513643" y="5046557"/>
                      <a:chExt cx="187770" cy="208407"/>
                    </a:xfrm>
                    <a:solidFill>
                      <a:srgbClr val="0078D3"/>
                    </a:solidFill>
                  </p:grpSpPr>
                  <p:sp>
                    <p:nvSpPr>
                      <p:cNvPr id="381" name="Oval 380">
                        <a:extLst>
                          <a:ext uri="{FF2B5EF4-FFF2-40B4-BE49-F238E27FC236}">
                            <a16:creationId xmlns:a16="http://schemas.microsoft.com/office/drawing/2014/main" id="{CB9028B9-A6C4-4611-8EE5-ED0FD6DE45B8}"/>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Oval 381">
                        <a:extLst>
                          <a:ext uri="{FF2B5EF4-FFF2-40B4-BE49-F238E27FC236}">
                            <a16:creationId xmlns:a16="http://schemas.microsoft.com/office/drawing/2014/main" id="{25E0576D-8286-46F0-B070-11E563BA559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Oval 382">
                        <a:extLst>
                          <a:ext uri="{FF2B5EF4-FFF2-40B4-BE49-F238E27FC236}">
                            <a16:creationId xmlns:a16="http://schemas.microsoft.com/office/drawing/2014/main" id="{37117CFC-8A51-4749-9D26-1360CD300132}"/>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Oval 383">
                        <a:extLst>
                          <a:ext uri="{FF2B5EF4-FFF2-40B4-BE49-F238E27FC236}">
                            <a16:creationId xmlns:a16="http://schemas.microsoft.com/office/drawing/2014/main" id="{8D0E7142-838B-47B0-AE8A-9190B7C30630}"/>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75" name="Group 374">
                    <a:extLst>
                      <a:ext uri="{FF2B5EF4-FFF2-40B4-BE49-F238E27FC236}">
                        <a16:creationId xmlns:a16="http://schemas.microsoft.com/office/drawing/2014/main" id="{6133EDAD-EA4D-4F03-B80B-FDABA7CEBD36}"/>
                      </a:ext>
                    </a:extLst>
                  </p:cNvPr>
                  <p:cNvGrpSpPr/>
                  <p:nvPr/>
                </p:nvGrpSpPr>
                <p:grpSpPr>
                  <a:xfrm>
                    <a:off x="5571787" y="5284616"/>
                    <a:ext cx="80519" cy="48923"/>
                    <a:chOff x="5884568" y="5297481"/>
                    <a:chExt cx="80519" cy="48923"/>
                  </a:xfrm>
                </p:grpSpPr>
                <p:sp>
                  <p:nvSpPr>
                    <p:cNvPr id="376" name="Line 7">
                      <a:extLst>
                        <a:ext uri="{FF2B5EF4-FFF2-40B4-BE49-F238E27FC236}">
                          <a16:creationId xmlns:a16="http://schemas.microsoft.com/office/drawing/2014/main" id="{7240F194-8DFA-4C8E-B0B4-4048211AAB4B}"/>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7" name="Line 8">
                      <a:extLst>
                        <a:ext uri="{FF2B5EF4-FFF2-40B4-BE49-F238E27FC236}">
                          <a16:creationId xmlns:a16="http://schemas.microsoft.com/office/drawing/2014/main" id="{AF32DE66-0355-4373-9D2B-47D452FA2EEA}"/>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78" name="Line 9">
                      <a:extLst>
                        <a:ext uri="{FF2B5EF4-FFF2-40B4-BE49-F238E27FC236}">
                          <a16:creationId xmlns:a16="http://schemas.microsoft.com/office/drawing/2014/main" id="{3AA7CC88-8B53-4CD5-92CC-DE4F671654C8}"/>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71" name="Group 370">
                  <a:extLst>
                    <a:ext uri="{FF2B5EF4-FFF2-40B4-BE49-F238E27FC236}">
                      <a16:creationId xmlns:a16="http://schemas.microsoft.com/office/drawing/2014/main" id="{5FC999E9-BC89-43D7-90F0-AB5AE87C9B48}"/>
                    </a:ext>
                  </a:extLst>
                </p:cNvPr>
                <p:cNvGrpSpPr/>
                <p:nvPr/>
              </p:nvGrpSpPr>
              <p:grpSpPr>
                <a:xfrm>
                  <a:off x="8837614" y="3141536"/>
                  <a:ext cx="292100" cy="292100"/>
                  <a:chOff x="9201151" y="3497263"/>
                  <a:chExt cx="292100" cy="292100"/>
                </a:xfrm>
              </p:grpSpPr>
              <p:sp>
                <p:nvSpPr>
                  <p:cNvPr id="372" name="Oval 371">
                    <a:extLst>
                      <a:ext uri="{FF2B5EF4-FFF2-40B4-BE49-F238E27FC236}">
                        <a16:creationId xmlns:a16="http://schemas.microsoft.com/office/drawing/2014/main" id="{41B89AF0-983F-4423-A9EE-3B17A7B285B5}"/>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Freeform 1018">
                    <a:extLst>
                      <a:ext uri="{FF2B5EF4-FFF2-40B4-BE49-F238E27FC236}">
                        <a16:creationId xmlns:a16="http://schemas.microsoft.com/office/drawing/2014/main" id="{900C3885-24D7-4039-90B8-1D20969A7FA9}"/>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8" name="Group 337">
                <a:extLst>
                  <a:ext uri="{FF2B5EF4-FFF2-40B4-BE49-F238E27FC236}">
                    <a16:creationId xmlns:a16="http://schemas.microsoft.com/office/drawing/2014/main" id="{34F69F15-F32E-492E-8834-E10AB4120DED}"/>
                  </a:ext>
                </a:extLst>
              </p:cNvPr>
              <p:cNvGrpSpPr/>
              <p:nvPr/>
            </p:nvGrpSpPr>
            <p:grpSpPr>
              <a:xfrm>
                <a:off x="6783311" y="4051011"/>
                <a:ext cx="501223" cy="570475"/>
                <a:chOff x="8618441" y="2851722"/>
                <a:chExt cx="511273" cy="581914"/>
              </a:xfrm>
            </p:grpSpPr>
            <p:grpSp>
              <p:nvGrpSpPr>
                <p:cNvPr id="355" name="Group 354">
                  <a:extLst>
                    <a:ext uri="{FF2B5EF4-FFF2-40B4-BE49-F238E27FC236}">
                      <a16:creationId xmlns:a16="http://schemas.microsoft.com/office/drawing/2014/main" id="{3FF9E78F-98FC-4158-948F-0058F2D03ECA}"/>
                    </a:ext>
                  </a:extLst>
                </p:cNvPr>
                <p:cNvGrpSpPr>
                  <a:grpSpLocks noChangeAspect="1"/>
                </p:cNvGrpSpPr>
                <p:nvPr/>
              </p:nvGrpSpPr>
              <p:grpSpPr>
                <a:xfrm>
                  <a:off x="8618441" y="2851722"/>
                  <a:ext cx="365760" cy="435864"/>
                  <a:chOff x="5477764" y="5013499"/>
                  <a:chExt cx="268565" cy="320040"/>
                </a:xfrm>
              </p:grpSpPr>
              <p:grpSp>
                <p:nvGrpSpPr>
                  <p:cNvPr id="359" name="Group 358">
                    <a:extLst>
                      <a:ext uri="{FF2B5EF4-FFF2-40B4-BE49-F238E27FC236}">
                        <a16:creationId xmlns:a16="http://schemas.microsoft.com/office/drawing/2014/main" id="{88C02E50-5C8E-47FF-9D24-EE1A70C28C8B}"/>
                      </a:ext>
                    </a:extLst>
                  </p:cNvPr>
                  <p:cNvGrpSpPr/>
                  <p:nvPr/>
                </p:nvGrpSpPr>
                <p:grpSpPr>
                  <a:xfrm>
                    <a:off x="5477764" y="5013499"/>
                    <a:ext cx="268565" cy="320040"/>
                    <a:chOff x="5477764" y="5010341"/>
                    <a:chExt cx="268565" cy="320040"/>
                  </a:xfrm>
                </p:grpSpPr>
                <p:sp>
                  <p:nvSpPr>
                    <p:cNvPr id="364" name="Freeform 5">
                      <a:extLst>
                        <a:ext uri="{FF2B5EF4-FFF2-40B4-BE49-F238E27FC236}">
                          <a16:creationId xmlns:a16="http://schemas.microsoft.com/office/drawing/2014/main" id="{D97C90B6-78A9-4B4F-B5DD-6BC5C8BE6315}"/>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65" name="Group 364">
                      <a:extLst>
                        <a:ext uri="{FF2B5EF4-FFF2-40B4-BE49-F238E27FC236}">
                          <a16:creationId xmlns:a16="http://schemas.microsoft.com/office/drawing/2014/main" id="{AFC5BB4B-858F-4F7F-8E10-33CBDF8F15EB}"/>
                        </a:ext>
                      </a:extLst>
                    </p:cNvPr>
                    <p:cNvGrpSpPr/>
                    <p:nvPr/>
                  </p:nvGrpSpPr>
                  <p:grpSpPr>
                    <a:xfrm>
                      <a:off x="5518161" y="5046557"/>
                      <a:ext cx="187770" cy="208407"/>
                      <a:chOff x="5513643" y="5046557"/>
                      <a:chExt cx="187770" cy="208407"/>
                    </a:xfrm>
                    <a:solidFill>
                      <a:srgbClr val="0078D3"/>
                    </a:solidFill>
                  </p:grpSpPr>
                  <p:sp>
                    <p:nvSpPr>
                      <p:cNvPr id="366" name="Oval 365">
                        <a:extLst>
                          <a:ext uri="{FF2B5EF4-FFF2-40B4-BE49-F238E27FC236}">
                            <a16:creationId xmlns:a16="http://schemas.microsoft.com/office/drawing/2014/main" id="{90EF83E3-BA27-43DF-9C8C-32FAAEB71D17}"/>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Oval 366">
                        <a:extLst>
                          <a:ext uri="{FF2B5EF4-FFF2-40B4-BE49-F238E27FC236}">
                            <a16:creationId xmlns:a16="http://schemas.microsoft.com/office/drawing/2014/main" id="{F69DDA38-9803-41C1-B995-9E4D44487E79}"/>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Oval 367">
                        <a:extLst>
                          <a:ext uri="{FF2B5EF4-FFF2-40B4-BE49-F238E27FC236}">
                            <a16:creationId xmlns:a16="http://schemas.microsoft.com/office/drawing/2014/main" id="{FD4DBCAD-90B4-490A-8DD3-D22819B15A98}"/>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9" name="Oval 368">
                        <a:extLst>
                          <a:ext uri="{FF2B5EF4-FFF2-40B4-BE49-F238E27FC236}">
                            <a16:creationId xmlns:a16="http://schemas.microsoft.com/office/drawing/2014/main" id="{AD889D81-52F5-4082-88B9-5F02789827D4}"/>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60" name="Group 359">
                    <a:extLst>
                      <a:ext uri="{FF2B5EF4-FFF2-40B4-BE49-F238E27FC236}">
                        <a16:creationId xmlns:a16="http://schemas.microsoft.com/office/drawing/2014/main" id="{6800490D-C6D0-4BB8-8FCB-D33B227911D4}"/>
                      </a:ext>
                    </a:extLst>
                  </p:cNvPr>
                  <p:cNvGrpSpPr/>
                  <p:nvPr/>
                </p:nvGrpSpPr>
                <p:grpSpPr>
                  <a:xfrm>
                    <a:off x="5571787" y="5284616"/>
                    <a:ext cx="80519" cy="48923"/>
                    <a:chOff x="5884568" y="5297481"/>
                    <a:chExt cx="80519" cy="48923"/>
                  </a:xfrm>
                </p:grpSpPr>
                <p:sp>
                  <p:nvSpPr>
                    <p:cNvPr id="361" name="Line 7">
                      <a:extLst>
                        <a:ext uri="{FF2B5EF4-FFF2-40B4-BE49-F238E27FC236}">
                          <a16:creationId xmlns:a16="http://schemas.microsoft.com/office/drawing/2014/main" id="{875C3E95-5247-4126-A75E-FFFED1A0EEF6}"/>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2" name="Line 8">
                      <a:extLst>
                        <a:ext uri="{FF2B5EF4-FFF2-40B4-BE49-F238E27FC236}">
                          <a16:creationId xmlns:a16="http://schemas.microsoft.com/office/drawing/2014/main" id="{BF74D9FA-57B2-44E6-A738-D2752679B840}"/>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63" name="Line 9">
                      <a:extLst>
                        <a:ext uri="{FF2B5EF4-FFF2-40B4-BE49-F238E27FC236}">
                          <a16:creationId xmlns:a16="http://schemas.microsoft.com/office/drawing/2014/main" id="{C5CBED23-44E7-480E-BAF0-E880D3F7B05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56" name="Group 355">
                  <a:extLst>
                    <a:ext uri="{FF2B5EF4-FFF2-40B4-BE49-F238E27FC236}">
                      <a16:creationId xmlns:a16="http://schemas.microsoft.com/office/drawing/2014/main" id="{57D4AC90-3F83-49FE-A1B3-66DE231B2720}"/>
                    </a:ext>
                  </a:extLst>
                </p:cNvPr>
                <p:cNvGrpSpPr/>
                <p:nvPr/>
              </p:nvGrpSpPr>
              <p:grpSpPr>
                <a:xfrm>
                  <a:off x="8837614" y="3141536"/>
                  <a:ext cx="292100" cy="292100"/>
                  <a:chOff x="9201151" y="3497263"/>
                  <a:chExt cx="292100" cy="292100"/>
                </a:xfrm>
              </p:grpSpPr>
              <p:sp>
                <p:nvSpPr>
                  <p:cNvPr id="357" name="Oval 356">
                    <a:extLst>
                      <a:ext uri="{FF2B5EF4-FFF2-40B4-BE49-F238E27FC236}">
                        <a16:creationId xmlns:a16="http://schemas.microsoft.com/office/drawing/2014/main" id="{6AF8D684-7846-4966-B434-688F9CA68A31}"/>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Freeform 1018">
                    <a:extLst>
                      <a:ext uri="{FF2B5EF4-FFF2-40B4-BE49-F238E27FC236}">
                        <a16:creationId xmlns:a16="http://schemas.microsoft.com/office/drawing/2014/main" id="{750C261F-4AFD-4844-9895-D2D04DF68BAE}"/>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39" name="Group 338">
                <a:extLst>
                  <a:ext uri="{FF2B5EF4-FFF2-40B4-BE49-F238E27FC236}">
                    <a16:creationId xmlns:a16="http://schemas.microsoft.com/office/drawing/2014/main" id="{178B19B7-5DBD-4A94-A0D5-FDC10187B45D}"/>
                  </a:ext>
                </a:extLst>
              </p:cNvPr>
              <p:cNvGrpSpPr/>
              <p:nvPr/>
            </p:nvGrpSpPr>
            <p:grpSpPr>
              <a:xfrm>
                <a:off x="6332609" y="4051011"/>
                <a:ext cx="501223" cy="570475"/>
                <a:chOff x="8618441" y="2851722"/>
                <a:chExt cx="511273" cy="581914"/>
              </a:xfrm>
            </p:grpSpPr>
            <p:grpSp>
              <p:nvGrpSpPr>
                <p:cNvPr id="340" name="Group 339">
                  <a:extLst>
                    <a:ext uri="{FF2B5EF4-FFF2-40B4-BE49-F238E27FC236}">
                      <a16:creationId xmlns:a16="http://schemas.microsoft.com/office/drawing/2014/main" id="{4D9315F5-51FF-4257-8E4F-21DFAB5A462B}"/>
                    </a:ext>
                  </a:extLst>
                </p:cNvPr>
                <p:cNvGrpSpPr>
                  <a:grpSpLocks noChangeAspect="1"/>
                </p:cNvGrpSpPr>
                <p:nvPr/>
              </p:nvGrpSpPr>
              <p:grpSpPr>
                <a:xfrm>
                  <a:off x="8618441" y="2851722"/>
                  <a:ext cx="365760" cy="435864"/>
                  <a:chOff x="5477764" y="5013499"/>
                  <a:chExt cx="268565" cy="320040"/>
                </a:xfrm>
              </p:grpSpPr>
              <p:grpSp>
                <p:nvGrpSpPr>
                  <p:cNvPr id="344" name="Group 343">
                    <a:extLst>
                      <a:ext uri="{FF2B5EF4-FFF2-40B4-BE49-F238E27FC236}">
                        <a16:creationId xmlns:a16="http://schemas.microsoft.com/office/drawing/2014/main" id="{E6F1E5F3-F84E-4912-B741-4D5709E63CDD}"/>
                      </a:ext>
                    </a:extLst>
                  </p:cNvPr>
                  <p:cNvGrpSpPr/>
                  <p:nvPr/>
                </p:nvGrpSpPr>
                <p:grpSpPr>
                  <a:xfrm>
                    <a:off x="5477764" y="5013499"/>
                    <a:ext cx="268565" cy="320040"/>
                    <a:chOff x="5477764" y="5010341"/>
                    <a:chExt cx="268565" cy="320040"/>
                  </a:xfrm>
                </p:grpSpPr>
                <p:sp>
                  <p:nvSpPr>
                    <p:cNvPr id="349" name="Freeform 5">
                      <a:extLst>
                        <a:ext uri="{FF2B5EF4-FFF2-40B4-BE49-F238E27FC236}">
                          <a16:creationId xmlns:a16="http://schemas.microsoft.com/office/drawing/2014/main" id="{39A2A259-F1AB-4558-85C6-7B577D27E7F0}"/>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50" name="Group 349">
                      <a:extLst>
                        <a:ext uri="{FF2B5EF4-FFF2-40B4-BE49-F238E27FC236}">
                          <a16:creationId xmlns:a16="http://schemas.microsoft.com/office/drawing/2014/main" id="{B61DB1A3-660E-434C-B3CF-9B80A99493DB}"/>
                        </a:ext>
                      </a:extLst>
                    </p:cNvPr>
                    <p:cNvGrpSpPr/>
                    <p:nvPr/>
                  </p:nvGrpSpPr>
                  <p:grpSpPr>
                    <a:xfrm>
                      <a:off x="5518161" y="5046557"/>
                      <a:ext cx="187770" cy="208407"/>
                      <a:chOff x="5513643" y="5046557"/>
                      <a:chExt cx="187770" cy="208407"/>
                    </a:xfrm>
                    <a:solidFill>
                      <a:srgbClr val="0078D3"/>
                    </a:solidFill>
                  </p:grpSpPr>
                  <p:sp>
                    <p:nvSpPr>
                      <p:cNvPr id="351" name="Oval 350">
                        <a:extLst>
                          <a:ext uri="{FF2B5EF4-FFF2-40B4-BE49-F238E27FC236}">
                            <a16:creationId xmlns:a16="http://schemas.microsoft.com/office/drawing/2014/main" id="{FBCDC7A0-B4B3-40CA-AB7D-AD1B07A5006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D3B505B-BDF7-4749-A5B8-E2FAE718FBAC}"/>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63B31C89-4F4E-4839-A657-A7663BAEC7D0}"/>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Oval 353">
                        <a:extLst>
                          <a:ext uri="{FF2B5EF4-FFF2-40B4-BE49-F238E27FC236}">
                            <a16:creationId xmlns:a16="http://schemas.microsoft.com/office/drawing/2014/main" id="{E1FEE761-A79F-471A-BBAE-ACB120CBECD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45" name="Group 344">
                    <a:extLst>
                      <a:ext uri="{FF2B5EF4-FFF2-40B4-BE49-F238E27FC236}">
                        <a16:creationId xmlns:a16="http://schemas.microsoft.com/office/drawing/2014/main" id="{28C1966D-70E9-4AA8-B98C-2A99A2AEDF07}"/>
                      </a:ext>
                    </a:extLst>
                  </p:cNvPr>
                  <p:cNvGrpSpPr/>
                  <p:nvPr/>
                </p:nvGrpSpPr>
                <p:grpSpPr>
                  <a:xfrm>
                    <a:off x="5571787" y="5284616"/>
                    <a:ext cx="80519" cy="48923"/>
                    <a:chOff x="5884568" y="5297481"/>
                    <a:chExt cx="80519" cy="48923"/>
                  </a:xfrm>
                </p:grpSpPr>
                <p:sp>
                  <p:nvSpPr>
                    <p:cNvPr id="346" name="Line 7">
                      <a:extLst>
                        <a:ext uri="{FF2B5EF4-FFF2-40B4-BE49-F238E27FC236}">
                          <a16:creationId xmlns:a16="http://schemas.microsoft.com/office/drawing/2014/main" id="{D035D8DD-60D0-4F27-AF24-4E0C7EA444C4}"/>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7" name="Line 8">
                      <a:extLst>
                        <a:ext uri="{FF2B5EF4-FFF2-40B4-BE49-F238E27FC236}">
                          <a16:creationId xmlns:a16="http://schemas.microsoft.com/office/drawing/2014/main" id="{0A5FE4B0-ABA1-4AB1-863B-A425B10B17DE}"/>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48" name="Line 9">
                      <a:extLst>
                        <a:ext uri="{FF2B5EF4-FFF2-40B4-BE49-F238E27FC236}">
                          <a16:creationId xmlns:a16="http://schemas.microsoft.com/office/drawing/2014/main" id="{8AAE3C15-EB14-4A6D-94CF-8A72365E3816}"/>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41" name="Group 340">
                  <a:extLst>
                    <a:ext uri="{FF2B5EF4-FFF2-40B4-BE49-F238E27FC236}">
                      <a16:creationId xmlns:a16="http://schemas.microsoft.com/office/drawing/2014/main" id="{A44ED680-5986-4EF3-89EA-6BC2C61631BB}"/>
                    </a:ext>
                  </a:extLst>
                </p:cNvPr>
                <p:cNvGrpSpPr/>
                <p:nvPr/>
              </p:nvGrpSpPr>
              <p:grpSpPr>
                <a:xfrm>
                  <a:off x="8837614" y="3141536"/>
                  <a:ext cx="292100" cy="292100"/>
                  <a:chOff x="9201151" y="3497263"/>
                  <a:chExt cx="292100" cy="292100"/>
                </a:xfrm>
              </p:grpSpPr>
              <p:sp>
                <p:nvSpPr>
                  <p:cNvPr id="342" name="Oval 341">
                    <a:extLst>
                      <a:ext uri="{FF2B5EF4-FFF2-40B4-BE49-F238E27FC236}">
                        <a16:creationId xmlns:a16="http://schemas.microsoft.com/office/drawing/2014/main" id="{22CB1CE1-662F-4E7A-B161-FD5B5047BDCB}"/>
                      </a:ext>
                    </a:extLst>
                  </p:cNvPr>
                  <p:cNvSpPr/>
                  <p:nvPr/>
                </p:nvSpPr>
                <p:spPr bwMode="auto">
                  <a:xfrm>
                    <a:off x="9201151" y="3497263"/>
                    <a:ext cx="292100" cy="292100"/>
                  </a:xfrm>
                  <a:prstGeom prst="ellipse">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1018">
                    <a:extLst>
                      <a:ext uri="{FF2B5EF4-FFF2-40B4-BE49-F238E27FC236}">
                        <a16:creationId xmlns:a16="http://schemas.microsoft.com/office/drawing/2014/main" id="{852E433D-8516-4296-B526-5308D173442A}"/>
                      </a:ext>
                    </a:extLst>
                  </p:cNvPr>
                  <p:cNvSpPr>
                    <a:spLocks/>
                  </p:cNvSpPr>
                  <p:nvPr/>
                </p:nvSpPr>
                <p:spPr bwMode="auto">
                  <a:xfrm>
                    <a:off x="9280331" y="3560110"/>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sp>
          <p:nvSpPr>
            <p:cNvPr id="268" name="TextBox 267">
              <a:extLst>
                <a:ext uri="{FF2B5EF4-FFF2-40B4-BE49-F238E27FC236}">
                  <a16:creationId xmlns:a16="http://schemas.microsoft.com/office/drawing/2014/main" id="{68AC1BF0-94BF-47C5-B151-9700C85321A3}"/>
                </a:ext>
              </a:extLst>
            </p:cNvPr>
            <p:cNvSpPr txBox="1"/>
            <p:nvPr/>
          </p:nvSpPr>
          <p:spPr>
            <a:xfrm>
              <a:off x="4314152" y="5278183"/>
              <a:ext cx="1331271"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remium SSD</a:t>
              </a:r>
            </a:p>
          </p:txBody>
        </p:sp>
      </p:grpSp>
      <p:grpSp>
        <p:nvGrpSpPr>
          <p:cNvPr id="37" name="Group 36" descr="Ultra Disk">
            <a:extLst>
              <a:ext uri="{FF2B5EF4-FFF2-40B4-BE49-F238E27FC236}">
                <a16:creationId xmlns:a16="http://schemas.microsoft.com/office/drawing/2014/main" id="{8D17E32C-DF9E-452E-BF01-6FFBD749C776}"/>
              </a:ext>
            </a:extLst>
          </p:cNvPr>
          <p:cNvGrpSpPr/>
          <p:nvPr/>
        </p:nvGrpSpPr>
        <p:grpSpPr>
          <a:xfrm>
            <a:off x="6589602" y="4980790"/>
            <a:ext cx="1317183" cy="749071"/>
            <a:chOff x="5694592" y="4791480"/>
            <a:chExt cx="1317183" cy="749071"/>
          </a:xfrm>
        </p:grpSpPr>
        <p:sp>
          <p:nvSpPr>
            <p:cNvPr id="269" name="TextBox 268">
              <a:extLst>
                <a:ext uri="{FF2B5EF4-FFF2-40B4-BE49-F238E27FC236}">
                  <a16:creationId xmlns:a16="http://schemas.microsoft.com/office/drawing/2014/main" id="{CE6575EE-308A-430C-9923-E2EB76950ECE}"/>
                </a:ext>
              </a:extLst>
            </p:cNvPr>
            <p:cNvSpPr txBox="1"/>
            <p:nvPr/>
          </p:nvSpPr>
          <p:spPr>
            <a:xfrm>
              <a:off x="5694592" y="5336282"/>
              <a:ext cx="1317183" cy="204269"/>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896215" fontAlgn="base">
                <a:spcBef>
                  <a:spcPct val="0"/>
                </a:spcBef>
                <a:spcAft>
                  <a:spcPts val="400"/>
                </a:spcAft>
                <a:buClrTx/>
                <a:buSzTx/>
                <a:buFontTx/>
                <a:buNone/>
                <a:tabLst/>
                <a:defRPr kumimoji="0" sz="1050" b="0" i="0" u="none" strike="noStrike" cap="none" spc="0" normalizeH="0" baseline="0">
                  <a:ln>
                    <a:noFill/>
                  </a:ln>
                  <a:effectLst/>
                  <a:uLnTx/>
                  <a:uFillTx/>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215" rtl="0" eaLnBrk="1" fontAlgn="base" latinLnBrk="0" hangingPunct="1">
                <a:lnSpc>
                  <a:spcPct val="100000"/>
                </a:lnSpc>
                <a:spcBef>
                  <a:spcPct val="0"/>
                </a:spcBef>
                <a:spcAft>
                  <a:spcPts val="4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Ultra Disk</a:t>
              </a:r>
            </a:p>
          </p:txBody>
        </p:sp>
        <p:grpSp>
          <p:nvGrpSpPr>
            <p:cNvPr id="270" name="Group 269">
              <a:extLst>
                <a:ext uri="{FF2B5EF4-FFF2-40B4-BE49-F238E27FC236}">
                  <a16:creationId xmlns:a16="http://schemas.microsoft.com/office/drawing/2014/main" id="{344F508C-845B-4DCA-9106-589326869CA2}"/>
                </a:ext>
              </a:extLst>
            </p:cNvPr>
            <p:cNvGrpSpPr/>
            <p:nvPr/>
          </p:nvGrpSpPr>
          <p:grpSpPr>
            <a:xfrm>
              <a:off x="5828745" y="4791480"/>
              <a:ext cx="1101886" cy="448257"/>
              <a:chOff x="8521512" y="4051011"/>
              <a:chExt cx="1402316" cy="570475"/>
            </a:xfrm>
          </p:grpSpPr>
          <p:grpSp>
            <p:nvGrpSpPr>
              <p:cNvPr id="271" name="Group 270">
                <a:extLst>
                  <a:ext uri="{FF2B5EF4-FFF2-40B4-BE49-F238E27FC236}">
                    <a16:creationId xmlns:a16="http://schemas.microsoft.com/office/drawing/2014/main" id="{54EA0353-428F-4F1E-8153-7CF435CE28AA}"/>
                  </a:ext>
                </a:extLst>
              </p:cNvPr>
              <p:cNvGrpSpPr/>
              <p:nvPr/>
            </p:nvGrpSpPr>
            <p:grpSpPr>
              <a:xfrm>
                <a:off x="9422606" y="4051011"/>
                <a:ext cx="501222" cy="570475"/>
                <a:chOff x="9365707" y="2403475"/>
                <a:chExt cx="511272" cy="581914"/>
              </a:xfrm>
            </p:grpSpPr>
            <p:grpSp>
              <p:nvGrpSpPr>
                <p:cNvPr id="308" name="Group 307">
                  <a:extLst>
                    <a:ext uri="{FF2B5EF4-FFF2-40B4-BE49-F238E27FC236}">
                      <a16:creationId xmlns:a16="http://schemas.microsoft.com/office/drawing/2014/main" id="{54845128-874D-4C9A-A886-C0CD1A5BE822}"/>
                    </a:ext>
                  </a:extLst>
                </p:cNvPr>
                <p:cNvGrpSpPr>
                  <a:grpSpLocks noChangeAspect="1"/>
                </p:cNvGrpSpPr>
                <p:nvPr/>
              </p:nvGrpSpPr>
              <p:grpSpPr>
                <a:xfrm>
                  <a:off x="9365707" y="2403475"/>
                  <a:ext cx="365760" cy="435864"/>
                  <a:chOff x="5477764" y="5013499"/>
                  <a:chExt cx="268565" cy="320040"/>
                </a:xfrm>
              </p:grpSpPr>
              <p:grpSp>
                <p:nvGrpSpPr>
                  <p:cNvPr id="314" name="Group 313">
                    <a:extLst>
                      <a:ext uri="{FF2B5EF4-FFF2-40B4-BE49-F238E27FC236}">
                        <a16:creationId xmlns:a16="http://schemas.microsoft.com/office/drawing/2014/main" id="{CC9555DC-1E80-4A72-9A39-B5E541DE2C37}"/>
                      </a:ext>
                    </a:extLst>
                  </p:cNvPr>
                  <p:cNvGrpSpPr/>
                  <p:nvPr/>
                </p:nvGrpSpPr>
                <p:grpSpPr>
                  <a:xfrm>
                    <a:off x="5477764" y="5013499"/>
                    <a:ext cx="268565" cy="320040"/>
                    <a:chOff x="5477764" y="5010341"/>
                    <a:chExt cx="268565" cy="320040"/>
                  </a:xfrm>
                </p:grpSpPr>
                <p:sp>
                  <p:nvSpPr>
                    <p:cNvPr id="319" name="Freeform 5">
                      <a:extLst>
                        <a:ext uri="{FF2B5EF4-FFF2-40B4-BE49-F238E27FC236}">
                          <a16:creationId xmlns:a16="http://schemas.microsoft.com/office/drawing/2014/main" id="{E37CF145-4414-4CBB-AFE5-0A60BA134B06}"/>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20" name="Group 319">
                      <a:extLst>
                        <a:ext uri="{FF2B5EF4-FFF2-40B4-BE49-F238E27FC236}">
                          <a16:creationId xmlns:a16="http://schemas.microsoft.com/office/drawing/2014/main" id="{4022B74A-9D08-435C-B38C-0E5D4AAB2805}"/>
                        </a:ext>
                      </a:extLst>
                    </p:cNvPr>
                    <p:cNvGrpSpPr/>
                    <p:nvPr/>
                  </p:nvGrpSpPr>
                  <p:grpSpPr>
                    <a:xfrm>
                      <a:off x="5518161" y="5046557"/>
                      <a:ext cx="187770" cy="208407"/>
                      <a:chOff x="5513643" y="5046557"/>
                      <a:chExt cx="187770" cy="208407"/>
                    </a:xfrm>
                    <a:solidFill>
                      <a:srgbClr val="0078D3"/>
                    </a:solidFill>
                  </p:grpSpPr>
                  <p:sp>
                    <p:nvSpPr>
                      <p:cNvPr id="321" name="Oval 320">
                        <a:extLst>
                          <a:ext uri="{FF2B5EF4-FFF2-40B4-BE49-F238E27FC236}">
                            <a16:creationId xmlns:a16="http://schemas.microsoft.com/office/drawing/2014/main" id="{C3E0ADC9-504B-41AB-8411-38C515E8E8D1}"/>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a:extLst>
                          <a:ext uri="{FF2B5EF4-FFF2-40B4-BE49-F238E27FC236}">
                            <a16:creationId xmlns:a16="http://schemas.microsoft.com/office/drawing/2014/main" id="{BA45C1C3-313D-400E-A005-01E38429367D}"/>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a:extLst>
                          <a:ext uri="{FF2B5EF4-FFF2-40B4-BE49-F238E27FC236}">
                            <a16:creationId xmlns:a16="http://schemas.microsoft.com/office/drawing/2014/main" id="{8B75D5F9-4CDC-44DF-BF53-0F11A95417AB}"/>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F2F50CD2-4EB2-481B-9CF3-08E91501663C}"/>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15" name="Group 314">
                    <a:extLst>
                      <a:ext uri="{FF2B5EF4-FFF2-40B4-BE49-F238E27FC236}">
                        <a16:creationId xmlns:a16="http://schemas.microsoft.com/office/drawing/2014/main" id="{2FAE03B2-AF39-4FDA-99E8-74758FEAE723}"/>
                      </a:ext>
                    </a:extLst>
                  </p:cNvPr>
                  <p:cNvGrpSpPr/>
                  <p:nvPr/>
                </p:nvGrpSpPr>
                <p:grpSpPr>
                  <a:xfrm>
                    <a:off x="5571787" y="5284616"/>
                    <a:ext cx="80519" cy="48923"/>
                    <a:chOff x="5884568" y="5297481"/>
                    <a:chExt cx="80519" cy="48923"/>
                  </a:xfrm>
                </p:grpSpPr>
                <p:sp>
                  <p:nvSpPr>
                    <p:cNvPr id="316" name="Line 7">
                      <a:extLst>
                        <a:ext uri="{FF2B5EF4-FFF2-40B4-BE49-F238E27FC236}">
                          <a16:creationId xmlns:a16="http://schemas.microsoft.com/office/drawing/2014/main" id="{81062589-BE56-4833-82B6-573A16C94E49}"/>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7" name="Line 8">
                      <a:extLst>
                        <a:ext uri="{FF2B5EF4-FFF2-40B4-BE49-F238E27FC236}">
                          <a16:creationId xmlns:a16="http://schemas.microsoft.com/office/drawing/2014/main" id="{B73E1B37-82BD-41E7-B6F5-7F400C9503F8}"/>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18" name="Line 9">
                      <a:extLst>
                        <a:ext uri="{FF2B5EF4-FFF2-40B4-BE49-F238E27FC236}">
                          <a16:creationId xmlns:a16="http://schemas.microsoft.com/office/drawing/2014/main" id="{09EA631D-35CE-4984-8BB6-1CCA76F91CA1}"/>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309" name="Group 308">
                  <a:extLst>
                    <a:ext uri="{FF2B5EF4-FFF2-40B4-BE49-F238E27FC236}">
                      <a16:creationId xmlns:a16="http://schemas.microsoft.com/office/drawing/2014/main" id="{797FFB7F-5301-4F06-A97D-08FF35860CF5}"/>
                    </a:ext>
                  </a:extLst>
                </p:cNvPr>
                <p:cNvGrpSpPr/>
                <p:nvPr/>
              </p:nvGrpSpPr>
              <p:grpSpPr>
                <a:xfrm>
                  <a:off x="9483884" y="2693289"/>
                  <a:ext cx="393095" cy="292100"/>
                  <a:chOff x="9483884" y="2693289"/>
                  <a:chExt cx="393095" cy="292100"/>
                </a:xfrm>
              </p:grpSpPr>
              <p:sp>
                <p:nvSpPr>
                  <p:cNvPr id="310" name="Rectangle: Rounded Corners 309">
                    <a:extLst>
                      <a:ext uri="{FF2B5EF4-FFF2-40B4-BE49-F238E27FC236}">
                        <a16:creationId xmlns:a16="http://schemas.microsoft.com/office/drawing/2014/main" id="{290B4B09-4E0F-4C9A-9403-BC1E1D61372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1" name="Group 310">
                    <a:extLst>
                      <a:ext uri="{FF2B5EF4-FFF2-40B4-BE49-F238E27FC236}">
                        <a16:creationId xmlns:a16="http://schemas.microsoft.com/office/drawing/2014/main" id="{00025E76-AC24-4E90-B852-24FE8E67B2AD}"/>
                      </a:ext>
                    </a:extLst>
                  </p:cNvPr>
                  <p:cNvGrpSpPr/>
                  <p:nvPr/>
                </p:nvGrpSpPr>
                <p:grpSpPr>
                  <a:xfrm>
                    <a:off x="9544505" y="2756136"/>
                    <a:ext cx="271853" cy="187577"/>
                    <a:chOff x="9525948" y="2756136"/>
                    <a:chExt cx="271853" cy="187577"/>
                  </a:xfrm>
                </p:grpSpPr>
                <p:sp>
                  <p:nvSpPr>
                    <p:cNvPr id="312" name="Freeform 1018">
                      <a:extLst>
                        <a:ext uri="{FF2B5EF4-FFF2-40B4-BE49-F238E27FC236}">
                          <a16:creationId xmlns:a16="http://schemas.microsoft.com/office/drawing/2014/main" id="{F1EC0F0F-1E0A-445F-92CC-135D462C17D9}"/>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313" name="Freeform 1018">
                      <a:extLst>
                        <a:ext uri="{FF2B5EF4-FFF2-40B4-BE49-F238E27FC236}">
                          <a16:creationId xmlns:a16="http://schemas.microsoft.com/office/drawing/2014/main" id="{5600A861-3845-48F4-9F95-B6E8DED2D3E6}"/>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2" name="Group 271">
                <a:extLst>
                  <a:ext uri="{FF2B5EF4-FFF2-40B4-BE49-F238E27FC236}">
                    <a16:creationId xmlns:a16="http://schemas.microsoft.com/office/drawing/2014/main" id="{1592F2B9-CAFA-4C32-AA92-0F322E76CDC3}"/>
                  </a:ext>
                </a:extLst>
              </p:cNvPr>
              <p:cNvGrpSpPr/>
              <p:nvPr/>
            </p:nvGrpSpPr>
            <p:grpSpPr>
              <a:xfrm>
                <a:off x="8969726" y="4051011"/>
                <a:ext cx="501222" cy="570475"/>
                <a:chOff x="9365707" y="2403475"/>
                <a:chExt cx="511272" cy="581914"/>
              </a:xfrm>
            </p:grpSpPr>
            <p:grpSp>
              <p:nvGrpSpPr>
                <p:cNvPr id="291" name="Group 290">
                  <a:extLst>
                    <a:ext uri="{FF2B5EF4-FFF2-40B4-BE49-F238E27FC236}">
                      <a16:creationId xmlns:a16="http://schemas.microsoft.com/office/drawing/2014/main" id="{B86074D8-4DC7-4100-8857-E88E1F59142D}"/>
                    </a:ext>
                  </a:extLst>
                </p:cNvPr>
                <p:cNvGrpSpPr>
                  <a:grpSpLocks noChangeAspect="1"/>
                </p:cNvGrpSpPr>
                <p:nvPr/>
              </p:nvGrpSpPr>
              <p:grpSpPr>
                <a:xfrm>
                  <a:off x="9365707" y="2403475"/>
                  <a:ext cx="365760" cy="435864"/>
                  <a:chOff x="5477764" y="5013499"/>
                  <a:chExt cx="268565" cy="320040"/>
                </a:xfrm>
              </p:grpSpPr>
              <p:grpSp>
                <p:nvGrpSpPr>
                  <p:cNvPr id="297" name="Group 296">
                    <a:extLst>
                      <a:ext uri="{FF2B5EF4-FFF2-40B4-BE49-F238E27FC236}">
                        <a16:creationId xmlns:a16="http://schemas.microsoft.com/office/drawing/2014/main" id="{9623312C-5E39-4CE2-AC3B-FBEB9F7C2B3F}"/>
                      </a:ext>
                    </a:extLst>
                  </p:cNvPr>
                  <p:cNvGrpSpPr/>
                  <p:nvPr/>
                </p:nvGrpSpPr>
                <p:grpSpPr>
                  <a:xfrm>
                    <a:off x="5477764" y="5013499"/>
                    <a:ext cx="268565" cy="320040"/>
                    <a:chOff x="5477764" y="5010341"/>
                    <a:chExt cx="268565" cy="320040"/>
                  </a:xfrm>
                </p:grpSpPr>
                <p:sp>
                  <p:nvSpPr>
                    <p:cNvPr id="302" name="Freeform 5">
                      <a:extLst>
                        <a:ext uri="{FF2B5EF4-FFF2-40B4-BE49-F238E27FC236}">
                          <a16:creationId xmlns:a16="http://schemas.microsoft.com/office/drawing/2014/main" id="{D031A6AA-6885-4157-B61E-CA0E49F6012C}"/>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303" name="Group 302">
                      <a:extLst>
                        <a:ext uri="{FF2B5EF4-FFF2-40B4-BE49-F238E27FC236}">
                          <a16:creationId xmlns:a16="http://schemas.microsoft.com/office/drawing/2014/main" id="{F66B81A5-D7F0-44AD-9C90-0C63CC23C90F}"/>
                        </a:ext>
                      </a:extLst>
                    </p:cNvPr>
                    <p:cNvGrpSpPr/>
                    <p:nvPr/>
                  </p:nvGrpSpPr>
                  <p:grpSpPr>
                    <a:xfrm>
                      <a:off x="5518161" y="5046557"/>
                      <a:ext cx="187770" cy="208407"/>
                      <a:chOff x="5513643" y="5046557"/>
                      <a:chExt cx="187770" cy="208407"/>
                    </a:xfrm>
                    <a:solidFill>
                      <a:srgbClr val="0078D3"/>
                    </a:solidFill>
                  </p:grpSpPr>
                  <p:sp>
                    <p:nvSpPr>
                      <p:cNvPr id="304" name="Oval 303">
                        <a:extLst>
                          <a:ext uri="{FF2B5EF4-FFF2-40B4-BE49-F238E27FC236}">
                            <a16:creationId xmlns:a16="http://schemas.microsoft.com/office/drawing/2014/main" id="{2FCE1E5C-DF6F-46C0-BBE9-544414093C92}"/>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Oval 304">
                        <a:extLst>
                          <a:ext uri="{FF2B5EF4-FFF2-40B4-BE49-F238E27FC236}">
                            <a16:creationId xmlns:a16="http://schemas.microsoft.com/office/drawing/2014/main" id="{BCDD23AF-4DB3-4CC6-9064-FEF323020E76}"/>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Oval 305">
                        <a:extLst>
                          <a:ext uri="{FF2B5EF4-FFF2-40B4-BE49-F238E27FC236}">
                            <a16:creationId xmlns:a16="http://schemas.microsoft.com/office/drawing/2014/main" id="{8C61503F-0C64-4DCB-9CB6-BB837958D454}"/>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Oval 306">
                        <a:extLst>
                          <a:ext uri="{FF2B5EF4-FFF2-40B4-BE49-F238E27FC236}">
                            <a16:creationId xmlns:a16="http://schemas.microsoft.com/office/drawing/2014/main" id="{4B80D50A-5E2D-4C74-B527-710AF2A32C0F}"/>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98" name="Group 297">
                    <a:extLst>
                      <a:ext uri="{FF2B5EF4-FFF2-40B4-BE49-F238E27FC236}">
                        <a16:creationId xmlns:a16="http://schemas.microsoft.com/office/drawing/2014/main" id="{9AB065B7-315B-47B7-B422-8C05B6B29BE9}"/>
                      </a:ext>
                    </a:extLst>
                  </p:cNvPr>
                  <p:cNvGrpSpPr/>
                  <p:nvPr/>
                </p:nvGrpSpPr>
                <p:grpSpPr>
                  <a:xfrm>
                    <a:off x="5571787" y="5284616"/>
                    <a:ext cx="80519" cy="48923"/>
                    <a:chOff x="5884568" y="5297481"/>
                    <a:chExt cx="80519" cy="48923"/>
                  </a:xfrm>
                </p:grpSpPr>
                <p:sp>
                  <p:nvSpPr>
                    <p:cNvPr id="299" name="Line 7">
                      <a:extLst>
                        <a:ext uri="{FF2B5EF4-FFF2-40B4-BE49-F238E27FC236}">
                          <a16:creationId xmlns:a16="http://schemas.microsoft.com/office/drawing/2014/main" id="{6AD35707-597E-41A7-BAF4-2B0EB87E2550}"/>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0" name="Line 8">
                      <a:extLst>
                        <a:ext uri="{FF2B5EF4-FFF2-40B4-BE49-F238E27FC236}">
                          <a16:creationId xmlns:a16="http://schemas.microsoft.com/office/drawing/2014/main" id="{DE7E38A3-D834-49BF-8465-85FCA1FBEB89}"/>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301" name="Line 9">
                      <a:extLst>
                        <a:ext uri="{FF2B5EF4-FFF2-40B4-BE49-F238E27FC236}">
                          <a16:creationId xmlns:a16="http://schemas.microsoft.com/office/drawing/2014/main" id="{A7A4EE81-B333-4147-A130-87B8FB18F9BB}"/>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92" name="Group 291">
                  <a:extLst>
                    <a:ext uri="{FF2B5EF4-FFF2-40B4-BE49-F238E27FC236}">
                      <a16:creationId xmlns:a16="http://schemas.microsoft.com/office/drawing/2014/main" id="{9E1A94CE-FD81-4C52-BBC8-1F34ED22ACDC}"/>
                    </a:ext>
                  </a:extLst>
                </p:cNvPr>
                <p:cNvGrpSpPr/>
                <p:nvPr/>
              </p:nvGrpSpPr>
              <p:grpSpPr>
                <a:xfrm>
                  <a:off x="9483884" y="2693289"/>
                  <a:ext cx="393095" cy="292100"/>
                  <a:chOff x="9483884" y="2693289"/>
                  <a:chExt cx="393095" cy="292100"/>
                </a:xfrm>
              </p:grpSpPr>
              <p:sp>
                <p:nvSpPr>
                  <p:cNvPr id="293" name="Rectangle: Rounded Corners 292">
                    <a:extLst>
                      <a:ext uri="{FF2B5EF4-FFF2-40B4-BE49-F238E27FC236}">
                        <a16:creationId xmlns:a16="http://schemas.microsoft.com/office/drawing/2014/main" id="{9FC70629-B03B-44D3-9C57-98C810A69E37}"/>
                      </a:ext>
                    </a:extLst>
                  </p:cNvPr>
                  <p:cNvSpPr/>
                  <p:nvPr/>
                </p:nvSpPr>
                <p:spPr bwMode="auto">
                  <a:xfrm>
                    <a:off x="9483884"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4" name="Group 293">
                    <a:extLst>
                      <a:ext uri="{FF2B5EF4-FFF2-40B4-BE49-F238E27FC236}">
                        <a16:creationId xmlns:a16="http://schemas.microsoft.com/office/drawing/2014/main" id="{8A3A071E-5D6A-4405-B601-0FBBB2FC3A2E}"/>
                      </a:ext>
                    </a:extLst>
                  </p:cNvPr>
                  <p:cNvGrpSpPr/>
                  <p:nvPr/>
                </p:nvGrpSpPr>
                <p:grpSpPr>
                  <a:xfrm>
                    <a:off x="9544505" y="2756136"/>
                    <a:ext cx="271853" cy="187577"/>
                    <a:chOff x="9525948" y="2756136"/>
                    <a:chExt cx="271853" cy="187577"/>
                  </a:xfrm>
                </p:grpSpPr>
                <p:sp>
                  <p:nvSpPr>
                    <p:cNvPr id="295" name="Freeform 1018">
                      <a:extLst>
                        <a:ext uri="{FF2B5EF4-FFF2-40B4-BE49-F238E27FC236}">
                          <a16:creationId xmlns:a16="http://schemas.microsoft.com/office/drawing/2014/main" id="{9BAA829E-267C-4445-9F74-B28DB19B7BC4}"/>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96" name="Freeform 1018">
                      <a:extLst>
                        <a:ext uri="{FF2B5EF4-FFF2-40B4-BE49-F238E27FC236}">
                          <a16:creationId xmlns:a16="http://schemas.microsoft.com/office/drawing/2014/main" id="{04674E51-E46A-4E93-BAF3-501D7ECF980E}"/>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273" name="Group 272">
                <a:extLst>
                  <a:ext uri="{FF2B5EF4-FFF2-40B4-BE49-F238E27FC236}">
                    <a16:creationId xmlns:a16="http://schemas.microsoft.com/office/drawing/2014/main" id="{BCFBDC24-7286-4F5E-9EB3-80B5C9A1EE24}"/>
                  </a:ext>
                </a:extLst>
              </p:cNvPr>
              <p:cNvGrpSpPr/>
              <p:nvPr/>
            </p:nvGrpSpPr>
            <p:grpSpPr>
              <a:xfrm>
                <a:off x="8521512" y="4051011"/>
                <a:ext cx="501221" cy="570475"/>
                <a:chOff x="9365707" y="2403475"/>
                <a:chExt cx="511271" cy="581914"/>
              </a:xfrm>
            </p:grpSpPr>
            <p:grpSp>
              <p:nvGrpSpPr>
                <p:cNvPr id="274" name="Group 273">
                  <a:extLst>
                    <a:ext uri="{FF2B5EF4-FFF2-40B4-BE49-F238E27FC236}">
                      <a16:creationId xmlns:a16="http://schemas.microsoft.com/office/drawing/2014/main" id="{02DDA74B-90BB-4AE0-BB76-E5DB61C0CBCC}"/>
                    </a:ext>
                  </a:extLst>
                </p:cNvPr>
                <p:cNvGrpSpPr>
                  <a:grpSpLocks noChangeAspect="1"/>
                </p:cNvGrpSpPr>
                <p:nvPr/>
              </p:nvGrpSpPr>
              <p:grpSpPr>
                <a:xfrm>
                  <a:off x="9365707" y="2403475"/>
                  <a:ext cx="365760" cy="435864"/>
                  <a:chOff x="5477764" y="5013499"/>
                  <a:chExt cx="268565" cy="320040"/>
                </a:xfrm>
              </p:grpSpPr>
              <p:grpSp>
                <p:nvGrpSpPr>
                  <p:cNvPr id="280" name="Group 279">
                    <a:extLst>
                      <a:ext uri="{FF2B5EF4-FFF2-40B4-BE49-F238E27FC236}">
                        <a16:creationId xmlns:a16="http://schemas.microsoft.com/office/drawing/2014/main" id="{F70E8402-4BE9-4DC3-A3EF-138537CE546F}"/>
                      </a:ext>
                    </a:extLst>
                  </p:cNvPr>
                  <p:cNvGrpSpPr/>
                  <p:nvPr/>
                </p:nvGrpSpPr>
                <p:grpSpPr>
                  <a:xfrm>
                    <a:off x="5477764" y="5013499"/>
                    <a:ext cx="268565" cy="320040"/>
                    <a:chOff x="5477764" y="5010341"/>
                    <a:chExt cx="268565" cy="320040"/>
                  </a:xfrm>
                </p:grpSpPr>
                <p:sp>
                  <p:nvSpPr>
                    <p:cNvPr id="285" name="Freeform 5">
                      <a:extLst>
                        <a:ext uri="{FF2B5EF4-FFF2-40B4-BE49-F238E27FC236}">
                          <a16:creationId xmlns:a16="http://schemas.microsoft.com/office/drawing/2014/main" id="{A6D23525-77BA-4AF6-9B3E-70754B149627}"/>
                        </a:ext>
                      </a:extLst>
                    </p:cNvPr>
                    <p:cNvSpPr>
                      <a:spLocks/>
                    </p:cNvSpPr>
                    <p:nvPr/>
                  </p:nvSpPr>
                  <p:spPr bwMode="auto">
                    <a:xfrm>
                      <a:off x="5477764" y="5010341"/>
                      <a:ext cx="268565" cy="320040"/>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solidFill>
                      <a:schemeClr val="bg1"/>
                    </a:solidFill>
                    <a:ln w="19050" cap="sq">
                      <a:solidFill>
                        <a:srgbClr val="0078D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nvGrpSpPr>
                    <p:cNvPr id="286" name="Group 285">
                      <a:extLst>
                        <a:ext uri="{FF2B5EF4-FFF2-40B4-BE49-F238E27FC236}">
                          <a16:creationId xmlns:a16="http://schemas.microsoft.com/office/drawing/2014/main" id="{30143F44-EEC7-477F-A35F-44273CB973BB}"/>
                        </a:ext>
                      </a:extLst>
                    </p:cNvPr>
                    <p:cNvGrpSpPr/>
                    <p:nvPr/>
                  </p:nvGrpSpPr>
                  <p:grpSpPr>
                    <a:xfrm>
                      <a:off x="5518161" y="5046557"/>
                      <a:ext cx="187770" cy="208407"/>
                      <a:chOff x="5513643" y="5046557"/>
                      <a:chExt cx="187770" cy="208407"/>
                    </a:xfrm>
                    <a:solidFill>
                      <a:srgbClr val="0078D3"/>
                    </a:solidFill>
                  </p:grpSpPr>
                  <p:sp>
                    <p:nvSpPr>
                      <p:cNvPr id="287" name="Oval 286">
                        <a:extLst>
                          <a:ext uri="{FF2B5EF4-FFF2-40B4-BE49-F238E27FC236}">
                            <a16:creationId xmlns:a16="http://schemas.microsoft.com/office/drawing/2014/main" id="{CAF0EF59-93B8-4CFF-B970-ED0402BABFEA}"/>
                          </a:ext>
                        </a:extLst>
                      </p:cNvPr>
                      <p:cNvSpPr/>
                      <p:nvPr/>
                    </p:nvSpPr>
                    <p:spPr bwMode="auto">
                      <a:xfrm>
                        <a:off x="5513643"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a:extLst>
                          <a:ext uri="{FF2B5EF4-FFF2-40B4-BE49-F238E27FC236}">
                            <a16:creationId xmlns:a16="http://schemas.microsoft.com/office/drawing/2014/main" id="{6907DE96-D24C-4A4E-AB4F-D1944728313F}"/>
                          </a:ext>
                        </a:extLst>
                      </p:cNvPr>
                      <p:cNvSpPr/>
                      <p:nvPr/>
                    </p:nvSpPr>
                    <p:spPr bwMode="auto">
                      <a:xfrm>
                        <a:off x="5673981" y="5046557"/>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a:extLst>
                          <a:ext uri="{FF2B5EF4-FFF2-40B4-BE49-F238E27FC236}">
                            <a16:creationId xmlns:a16="http://schemas.microsoft.com/office/drawing/2014/main" id="{8BC13B39-6E9F-4043-8AC6-22FA3288DDED}"/>
                          </a:ext>
                        </a:extLst>
                      </p:cNvPr>
                      <p:cNvSpPr/>
                      <p:nvPr/>
                    </p:nvSpPr>
                    <p:spPr bwMode="auto">
                      <a:xfrm>
                        <a:off x="5513643"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a:extLst>
                          <a:ext uri="{FF2B5EF4-FFF2-40B4-BE49-F238E27FC236}">
                            <a16:creationId xmlns:a16="http://schemas.microsoft.com/office/drawing/2014/main" id="{87FA9B52-C51F-43B5-8C4B-00A51E895C35}"/>
                          </a:ext>
                        </a:extLst>
                      </p:cNvPr>
                      <p:cNvSpPr/>
                      <p:nvPr/>
                    </p:nvSpPr>
                    <p:spPr bwMode="auto">
                      <a:xfrm>
                        <a:off x="5673981" y="5227532"/>
                        <a:ext cx="27432" cy="2743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81" name="Group 280">
                    <a:extLst>
                      <a:ext uri="{FF2B5EF4-FFF2-40B4-BE49-F238E27FC236}">
                        <a16:creationId xmlns:a16="http://schemas.microsoft.com/office/drawing/2014/main" id="{B546E3D4-87E5-44FB-BDFE-87F67BC1866C}"/>
                      </a:ext>
                    </a:extLst>
                  </p:cNvPr>
                  <p:cNvGrpSpPr/>
                  <p:nvPr/>
                </p:nvGrpSpPr>
                <p:grpSpPr>
                  <a:xfrm>
                    <a:off x="5571787" y="5284616"/>
                    <a:ext cx="80519" cy="48923"/>
                    <a:chOff x="5884568" y="5297481"/>
                    <a:chExt cx="80519" cy="48923"/>
                  </a:xfrm>
                </p:grpSpPr>
                <p:sp>
                  <p:nvSpPr>
                    <p:cNvPr id="282" name="Line 7">
                      <a:extLst>
                        <a:ext uri="{FF2B5EF4-FFF2-40B4-BE49-F238E27FC236}">
                          <a16:creationId xmlns:a16="http://schemas.microsoft.com/office/drawing/2014/main" id="{5FC38190-6D19-4596-AED6-96FD3871666A}"/>
                        </a:ext>
                      </a:extLst>
                    </p:cNvPr>
                    <p:cNvSpPr>
                      <a:spLocks noChangeShapeType="1"/>
                    </p:cNvSpPr>
                    <p:nvPr/>
                  </p:nvSpPr>
                  <p:spPr bwMode="auto">
                    <a:xfrm>
                      <a:off x="5884568"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3" name="Line 8">
                      <a:extLst>
                        <a:ext uri="{FF2B5EF4-FFF2-40B4-BE49-F238E27FC236}">
                          <a16:creationId xmlns:a16="http://schemas.microsoft.com/office/drawing/2014/main" id="{22560CB4-FCE7-43E8-B504-8DBF2C80D2F7}"/>
                        </a:ext>
                      </a:extLst>
                    </p:cNvPr>
                    <p:cNvSpPr>
                      <a:spLocks noChangeShapeType="1"/>
                    </p:cNvSpPr>
                    <p:nvPr/>
                  </p:nvSpPr>
                  <p:spPr bwMode="auto">
                    <a:xfrm>
                      <a:off x="592482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sp>
                  <p:nvSpPr>
                    <p:cNvPr id="284" name="Line 9">
                      <a:extLst>
                        <a:ext uri="{FF2B5EF4-FFF2-40B4-BE49-F238E27FC236}">
                          <a16:creationId xmlns:a16="http://schemas.microsoft.com/office/drawing/2014/main" id="{44B419AF-A570-48F7-B191-FD2B11464F3C}"/>
                        </a:ext>
                      </a:extLst>
                    </p:cNvPr>
                    <p:cNvSpPr>
                      <a:spLocks noChangeShapeType="1"/>
                    </p:cNvSpPr>
                    <p:nvPr/>
                  </p:nvSpPr>
                  <p:spPr bwMode="auto">
                    <a:xfrm>
                      <a:off x="5965087" y="5297481"/>
                      <a:ext cx="0" cy="48923"/>
                    </a:xfrm>
                    <a:prstGeom prst="line">
                      <a:avLst/>
                    </a:prstGeom>
                    <a:noFill/>
                    <a:ln w="19050" cap="sq">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2F2F2F"/>
                        </a:solidFill>
                        <a:effectLst/>
                        <a:uLnTx/>
                        <a:uFillTx/>
                        <a:latin typeface="Segoe UI"/>
                        <a:ea typeface="+mn-ea"/>
                        <a:cs typeface="+mn-cs"/>
                      </a:endParaRPr>
                    </a:p>
                  </p:txBody>
                </p:sp>
              </p:grpSp>
            </p:grpSp>
            <p:grpSp>
              <p:nvGrpSpPr>
                <p:cNvPr id="275" name="Group 274">
                  <a:extLst>
                    <a:ext uri="{FF2B5EF4-FFF2-40B4-BE49-F238E27FC236}">
                      <a16:creationId xmlns:a16="http://schemas.microsoft.com/office/drawing/2014/main" id="{6AC7D5B5-1380-4439-8D4D-F358F25A159D}"/>
                    </a:ext>
                  </a:extLst>
                </p:cNvPr>
                <p:cNvGrpSpPr/>
                <p:nvPr/>
              </p:nvGrpSpPr>
              <p:grpSpPr>
                <a:xfrm>
                  <a:off x="9483883" y="2693289"/>
                  <a:ext cx="393095" cy="292100"/>
                  <a:chOff x="9483883" y="2693289"/>
                  <a:chExt cx="393095" cy="292100"/>
                </a:xfrm>
              </p:grpSpPr>
              <p:sp>
                <p:nvSpPr>
                  <p:cNvPr id="276" name="Rectangle: Rounded Corners 275">
                    <a:extLst>
                      <a:ext uri="{FF2B5EF4-FFF2-40B4-BE49-F238E27FC236}">
                        <a16:creationId xmlns:a16="http://schemas.microsoft.com/office/drawing/2014/main" id="{E69F7FE5-9BD1-4BD8-AE50-6931051278C7}"/>
                      </a:ext>
                    </a:extLst>
                  </p:cNvPr>
                  <p:cNvSpPr/>
                  <p:nvPr/>
                </p:nvSpPr>
                <p:spPr bwMode="auto">
                  <a:xfrm>
                    <a:off x="9483883" y="2693289"/>
                    <a:ext cx="393095" cy="292100"/>
                  </a:xfrm>
                  <a:prstGeom prst="round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76">
                    <a:extLst>
                      <a:ext uri="{FF2B5EF4-FFF2-40B4-BE49-F238E27FC236}">
                        <a16:creationId xmlns:a16="http://schemas.microsoft.com/office/drawing/2014/main" id="{39DDB952-CF19-4094-8ACD-C603E822A91A}"/>
                      </a:ext>
                    </a:extLst>
                  </p:cNvPr>
                  <p:cNvGrpSpPr/>
                  <p:nvPr/>
                </p:nvGrpSpPr>
                <p:grpSpPr>
                  <a:xfrm>
                    <a:off x="9544505" y="2756136"/>
                    <a:ext cx="271853" cy="187577"/>
                    <a:chOff x="9525948" y="2756136"/>
                    <a:chExt cx="271853" cy="187577"/>
                  </a:xfrm>
                </p:grpSpPr>
                <p:sp>
                  <p:nvSpPr>
                    <p:cNvPr id="278" name="Freeform 1018">
                      <a:extLst>
                        <a:ext uri="{FF2B5EF4-FFF2-40B4-BE49-F238E27FC236}">
                          <a16:creationId xmlns:a16="http://schemas.microsoft.com/office/drawing/2014/main" id="{04F13CEA-B7A6-41B8-A035-E4AE42D2A915}"/>
                        </a:ext>
                      </a:extLst>
                    </p:cNvPr>
                    <p:cNvSpPr>
                      <a:spLocks/>
                    </p:cNvSpPr>
                    <p:nvPr/>
                  </p:nvSpPr>
                  <p:spPr bwMode="auto">
                    <a:xfrm>
                      <a:off x="9664060"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sp>
                  <p:nvSpPr>
                    <p:cNvPr id="279" name="Freeform 1018">
                      <a:extLst>
                        <a:ext uri="{FF2B5EF4-FFF2-40B4-BE49-F238E27FC236}">
                          <a16:creationId xmlns:a16="http://schemas.microsoft.com/office/drawing/2014/main" id="{1F92EC26-7E11-450C-9A7D-C9E9CD7C460B}"/>
                        </a:ext>
                      </a:extLst>
                    </p:cNvPr>
                    <p:cNvSpPr>
                      <a:spLocks/>
                    </p:cNvSpPr>
                    <p:nvPr/>
                  </p:nvSpPr>
                  <p:spPr bwMode="auto">
                    <a:xfrm>
                      <a:off x="9525948" y="2756136"/>
                      <a:ext cx="133741" cy="187577"/>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5588 w 12002"/>
                        <a:gd name="connsiteY7" fmla="*/ 4118 h 10000"/>
                        <a:gd name="connsiteX8" fmla="*/ 10000 w 12002"/>
                        <a:gd name="connsiteY8" fmla="*/ 0 h 10000"/>
                        <a:gd name="connsiteX0" fmla="*/ 10000 w 12002"/>
                        <a:gd name="connsiteY0" fmla="*/ 0 h 10000"/>
                        <a:gd name="connsiteX1" fmla="*/ 5882 w 12002"/>
                        <a:gd name="connsiteY1" fmla="*/ 0 h 10000"/>
                        <a:gd name="connsiteX2" fmla="*/ 1275 w 12002"/>
                        <a:gd name="connsiteY2" fmla="*/ 5686 h 10000"/>
                        <a:gd name="connsiteX3" fmla="*/ 3725 w 12002"/>
                        <a:gd name="connsiteY3" fmla="*/ 5686 h 10000"/>
                        <a:gd name="connsiteX4" fmla="*/ 0 w 12002"/>
                        <a:gd name="connsiteY4" fmla="*/ 10000 h 10000"/>
                        <a:gd name="connsiteX5" fmla="*/ 882 w 12002"/>
                        <a:gd name="connsiteY5" fmla="*/ 10000 h 10000"/>
                        <a:gd name="connsiteX6" fmla="*/ 12002 w 12002"/>
                        <a:gd name="connsiteY6" fmla="*/ 3237 h 10000"/>
                        <a:gd name="connsiteX7" fmla="*/ 7847 w 12002"/>
                        <a:gd name="connsiteY7" fmla="*/ 2837 h 10000"/>
                        <a:gd name="connsiteX8" fmla="*/ 10000 w 12002"/>
                        <a:gd name="connsiteY8" fmla="*/ 0 h 10000"/>
                        <a:gd name="connsiteX0" fmla="*/ 10000 w 12002"/>
                        <a:gd name="connsiteY0" fmla="*/ 0 h 11041"/>
                        <a:gd name="connsiteX1" fmla="*/ 5882 w 12002"/>
                        <a:gd name="connsiteY1" fmla="*/ 0 h 11041"/>
                        <a:gd name="connsiteX2" fmla="*/ 1275 w 12002"/>
                        <a:gd name="connsiteY2" fmla="*/ 5686 h 11041"/>
                        <a:gd name="connsiteX3" fmla="*/ 3725 w 12002"/>
                        <a:gd name="connsiteY3" fmla="*/ 5686 h 11041"/>
                        <a:gd name="connsiteX4" fmla="*/ 0 w 12002"/>
                        <a:gd name="connsiteY4" fmla="*/ 10000 h 11041"/>
                        <a:gd name="connsiteX5" fmla="*/ 5943 w 12002"/>
                        <a:gd name="connsiteY5" fmla="*/ 11041 h 11041"/>
                        <a:gd name="connsiteX6" fmla="*/ 12002 w 12002"/>
                        <a:gd name="connsiteY6" fmla="*/ 3237 h 11041"/>
                        <a:gd name="connsiteX7" fmla="*/ 7847 w 12002"/>
                        <a:gd name="connsiteY7" fmla="*/ 2837 h 11041"/>
                        <a:gd name="connsiteX8" fmla="*/ 10000 w 12002"/>
                        <a:gd name="connsiteY8" fmla="*/ 0 h 11041"/>
                        <a:gd name="connsiteX0" fmla="*/ 8725 w 10727"/>
                        <a:gd name="connsiteY0" fmla="*/ 0 h 11041"/>
                        <a:gd name="connsiteX1" fmla="*/ 4607 w 10727"/>
                        <a:gd name="connsiteY1" fmla="*/ 0 h 11041"/>
                        <a:gd name="connsiteX2" fmla="*/ 0 w 10727"/>
                        <a:gd name="connsiteY2" fmla="*/ 5686 h 11041"/>
                        <a:gd name="connsiteX3" fmla="*/ 245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725 w 10727"/>
                        <a:gd name="connsiteY0" fmla="*/ 0 h 11041"/>
                        <a:gd name="connsiteX1" fmla="*/ 4607 w 10727"/>
                        <a:gd name="connsiteY1" fmla="*/ 0 h 11041"/>
                        <a:gd name="connsiteX2" fmla="*/ 0 w 10727"/>
                        <a:gd name="connsiteY2" fmla="*/ 5686 h 11041"/>
                        <a:gd name="connsiteX3" fmla="*/ 4890 w 10727"/>
                        <a:gd name="connsiteY3" fmla="*/ 5686 h 11041"/>
                        <a:gd name="connsiteX4" fmla="*/ 4668 w 10727"/>
                        <a:gd name="connsiteY4" fmla="*/ 11041 h 11041"/>
                        <a:gd name="connsiteX5" fmla="*/ 10727 w 10727"/>
                        <a:gd name="connsiteY5" fmla="*/ 3237 h 11041"/>
                        <a:gd name="connsiteX6" fmla="*/ 6572 w 10727"/>
                        <a:gd name="connsiteY6" fmla="*/ 2837 h 11041"/>
                        <a:gd name="connsiteX7" fmla="*/ 8725 w 10727"/>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 name="connsiteX0" fmla="*/ 8454 w 10456"/>
                        <a:gd name="connsiteY0" fmla="*/ 0 h 11041"/>
                        <a:gd name="connsiteX1" fmla="*/ 4336 w 10456"/>
                        <a:gd name="connsiteY1" fmla="*/ 0 h 11041"/>
                        <a:gd name="connsiteX2" fmla="*/ 0 w 10456"/>
                        <a:gd name="connsiteY2" fmla="*/ 5686 h 11041"/>
                        <a:gd name="connsiteX3" fmla="*/ 4619 w 10456"/>
                        <a:gd name="connsiteY3" fmla="*/ 5686 h 11041"/>
                        <a:gd name="connsiteX4" fmla="*/ 4397 w 10456"/>
                        <a:gd name="connsiteY4" fmla="*/ 11041 h 11041"/>
                        <a:gd name="connsiteX5" fmla="*/ 10456 w 10456"/>
                        <a:gd name="connsiteY5" fmla="*/ 3237 h 11041"/>
                        <a:gd name="connsiteX6" fmla="*/ 6301 w 10456"/>
                        <a:gd name="connsiteY6" fmla="*/ 2837 h 11041"/>
                        <a:gd name="connsiteX7" fmla="*/ 8454 w 10456"/>
                        <a:gd name="connsiteY7" fmla="*/ 0 h 1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6" h="11041">
                          <a:moveTo>
                            <a:pt x="8454" y="0"/>
                          </a:moveTo>
                          <a:lnTo>
                            <a:pt x="4336" y="0"/>
                          </a:lnTo>
                          <a:cubicBezTo>
                            <a:pt x="2891" y="1895"/>
                            <a:pt x="1716" y="3070"/>
                            <a:pt x="0" y="5686"/>
                          </a:cubicBezTo>
                          <a:lnTo>
                            <a:pt x="4619" y="5686"/>
                          </a:lnTo>
                          <a:lnTo>
                            <a:pt x="4397" y="11041"/>
                          </a:lnTo>
                          <a:lnTo>
                            <a:pt x="10456" y="3237"/>
                          </a:lnTo>
                          <a:lnTo>
                            <a:pt x="6301" y="2837"/>
                          </a:lnTo>
                          <a:lnTo>
                            <a:pt x="8454" y="0"/>
                          </a:lnTo>
                          <a:close/>
                        </a:path>
                      </a:pathLst>
                    </a:custGeom>
                    <a:solidFill>
                      <a:srgbClr val="0078D3"/>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C3C41"/>
                        </a:solidFill>
                        <a:effectLst/>
                        <a:uLnTx/>
                        <a:uFillTx/>
                        <a:latin typeface="Segoe UI"/>
                        <a:ea typeface="+mn-ea"/>
                        <a:cs typeface="+mn-cs"/>
                      </a:endParaRPr>
                    </a:p>
                  </p:txBody>
                </p:sp>
              </p:grpSp>
            </p:grpSp>
          </p:grpSp>
        </p:grpSp>
      </p:grpSp>
      <p:sp>
        <p:nvSpPr>
          <p:cNvPr id="260" name="Rectangle 259">
            <a:extLst>
              <a:ext uri="{FF2B5EF4-FFF2-40B4-BE49-F238E27FC236}">
                <a16:creationId xmlns:a16="http://schemas.microsoft.com/office/drawing/2014/main" id="{1CFF9947-368C-4A0E-9724-5FE873CF0A09}"/>
              </a:ext>
              <a:ext uri="{C183D7F6-B498-43B3-948B-1728B52AA6E4}">
                <adec:decorative xmlns:adec="http://schemas.microsoft.com/office/drawing/2017/decorative" xmlns="" val="1"/>
              </a:ext>
            </a:extLst>
          </p:cNvPr>
          <p:cNvSpPr/>
          <p:nvPr/>
        </p:nvSpPr>
        <p:spPr>
          <a:xfrm>
            <a:off x="584200" y="4726343"/>
            <a:ext cx="8224009" cy="1164380"/>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C68A4DEB-A3CB-4FE9-AE4E-A4A0E767A9A5}"/>
              </a:ext>
              <a:ext uri="{C183D7F6-B498-43B3-948B-1728B52AA6E4}">
                <adec:decorative xmlns:adec="http://schemas.microsoft.com/office/drawing/2017/decorative" xmlns="" val="1"/>
              </a:ext>
            </a:extLst>
          </p:cNvPr>
          <p:cNvGrpSpPr>
            <a:grpSpLocks/>
          </p:cNvGrpSpPr>
          <p:nvPr/>
        </p:nvGrpSpPr>
        <p:grpSpPr>
          <a:xfrm>
            <a:off x="7516860" y="1898583"/>
            <a:ext cx="775545" cy="775545"/>
            <a:chOff x="7263210" y="2164792"/>
            <a:chExt cx="875080" cy="849308"/>
          </a:xfrm>
        </p:grpSpPr>
        <p:sp>
          <p:nvSpPr>
            <p:cNvPr id="73" name="Oval 72">
              <a:extLst>
                <a:ext uri="{FF2B5EF4-FFF2-40B4-BE49-F238E27FC236}">
                  <a16:creationId xmlns:a16="http://schemas.microsoft.com/office/drawing/2014/main" id="{034EFFD8-1763-4369-A10C-DA2580A5DB81}"/>
                </a:ext>
              </a:extLst>
            </p:cNvPr>
            <p:cNvSpPr/>
            <p:nvPr/>
          </p:nvSpPr>
          <p:spPr bwMode="auto">
            <a:xfrm>
              <a:off x="7263210" y="2164792"/>
              <a:ext cx="875080"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74" name="Group 73">
              <a:extLst>
                <a:ext uri="{FF2B5EF4-FFF2-40B4-BE49-F238E27FC236}">
                  <a16:creationId xmlns:a16="http://schemas.microsoft.com/office/drawing/2014/main" id="{6FED2A86-2FE5-4471-8F10-5D0C4CC55C6F}"/>
                </a:ext>
              </a:extLst>
            </p:cNvPr>
            <p:cNvGrpSpPr/>
            <p:nvPr/>
          </p:nvGrpSpPr>
          <p:grpSpPr>
            <a:xfrm flipH="1">
              <a:off x="7515635" y="2408394"/>
              <a:ext cx="370227" cy="360482"/>
              <a:chOff x="7659708" y="2518196"/>
              <a:chExt cx="370227" cy="360482"/>
            </a:xfrm>
            <a:solidFill>
              <a:schemeClr val="accent3"/>
            </a:solidFill>
          </p:grpSpPr>
          <p:grpSp>
            <p:nvGrpSpPr>
              <p:cNvPr id="75" name="Group 74">
                <a:extLst>
                  <a:ext uri="{FF2B5EF4-FFF2-40B4-BE49-F238E27FC236}">
                    <a16:creationId xmlns:a16="http://schemas.microsoft.com/office/drawing/2014/main" id="{0A73F205-0E6F-45F3-84B1-0D51F36FF468}"/>
                  </a:ext>
                </a:extLst>
              </p:cNvPr>
              <p:cNvGrpSpPr/>
              <p:nvPr/>
            </p:nvGrpSpPr>
            <p:grpSpPr>
              <a:xfrm>
                <a:off x="7659708" y="2518196"/>
                <a:ext cx="370227" cy="91440"/>
                <a:chOff x="7913689" y="2368341"/>
                <a:chExt cx="370227" cy="91440"/>
              </a:xfrm>
              <a:grpFill/>
            </p:grpSpPr>
            <p:sp>
              <p:nvSpPr>
                <p:cNvPr id="90" name="Rectangle 89">
                  <a:extLst>
                    <a:ext uri="{FF2B5EF4-FFF2-40B4-BE49-F238E27FC236}">
                      <a16:creationId xmlns:a16="http://schemas.microsoft.com/office/drawing/2014/main" id="{2E29130A-688D-4902-8B74-E3BF482DAA07}"/>
                    </a:ext>
                  </a:extLst>
                </p:cNvPr>
                <p:cNvSpPr/>
                <p:nvPr/>
              </p:nvSpPr>
              <p:spPr bwMode="auto">
                <a:xfrm>
                  <a:off x="7913689"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2C61C69A-4DC4-48E4-86DD-135305788673}"/>
                    </a:ext>
                  </a:extLst>
                </p:cNvPr>
                <p:cNvSpPr/>
                <p:nvPr/>
              </p:nvSpPr>
              <p:spPr bwMode="auto">
                <a:xfrm>
                  <a:off x="8045431"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BE900AD-BE85-424C-85D9-099F086FD3A0}"/>
                    </a:ext>
                  </a:extLst>
                </p:cNvPr>
                <p:cNvSpPr/>
                <p:nvPr/>
              </p:nvSpPr>
              <p:spPr bwMode="auto">
                <a:xfrm>
                  <a:off x="8177173" y="2368341"/>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3" name="Freeform: Shape 92">
                  <a:extLst>
                    <a:ext uri="{FF2B5EF4-FFF2-40B4-BE49-F238E27FC236}">
                      <a16:creationId xmlns:a16="http://schemas.microsoft.com/office/drawing/2014/main" id="{2589D6F2-5433-40B9-AAE2-1966637ACCCB}"/>
                    </a:ext>
                  </a:extLst>
                </p:cNvPr>
                <p:cNvSpPr>
                  <a:spLocks noChangeAspect="1"/>
                </p:cNvSpPr>
                <p:nvPr/>
              </p:nvSpPr>
              <p:spPr bwMode="auto">
                <a:xfrm>
                  <a:off x="7956975"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4" name="Freeform: Shape 93">
                  <a:extLst>
                    <a:ext uri="{FF2B5EF4-FFF2-40B4-BE49-F238E27FC236}">
                      <a16:creationId xmlns:a16="http://schemas.microsoft.com/office/drawing/2014/main" id="{14CBB2B9-B095-4D32-88E3-A5F380B45AD5}"/>
                    </a:ext>
                  </a:extLst>
                </p:cNvPr>
                <p:cNvSpPr>
                  <a:spLocks noChangeAspect="1"/>
                </p:cNvSpPr>
                <p:nvPr/>
              </p:nvSpPr>
              <p:spPr bwMode="auto">
                <a:xfrm>
                  <a:off x="808871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3DED26DA-1676-44A0-9949-9CEE9E0F70D6}"/>
                    </a:ext>
                  </a:extLst>
                </p:cNvPr>
                <p:cNvSpPr>
                  <a:spLocks noChangeAspect="1"/>
                </p:cNvSpPr>
                <p:nvPr/>
              </p:nvSpPr>
              <p:spPr bwMode="auto">
                <a:xfrm>
                  <a:off x="8220458" y="2368341"/>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E19618CB-75CC-4861-9DA3-B14EBE829EB1}"/>
                  </a:ext>
                </a:extLst>
              </p:cNvPr>
              <p:cNvGrpSpPr/>
              <p:nvPr/>
            </p:nvGrpSpPr>
            <p:grpSpPr>
              <a:xfrm flipH="1">
                <a:off x="7659708" y="2652717"/>
                <a:ext cx="370227" cy="91440"/>
                <a:chOff x="7913689" y="2470417"/>
                <a:chExt cx="370227" cy="91440"/>
              </a:xfrm>
              <a:grpFill/>
            </p:grpSpPr>
            <p:sp>
              <p:nvSpPr>
                <p:cNvPr id="84" name="Rectangle 83">
                  <a:extLst>
                    <a:ext uri="{FF2B5EF4-FFF2-40B4-BE49-F238E27FC236}">
                      <a16:creationId xmlns:a16="http://schemas.microsoft.com/office/drawing/2014/main" id="{7AD9AB0F-45F7-4980-8D5B-7431927E3346}"/>
                    </a:ext>
                  </a:extLst>
                </p:cNvPr>
                <p:cNvSpPr/>
                <p:nvPr/>
              </p:nvSpPr>
              <p:spPr bwMode="auto">
                <a:xfrm>
                  <a:off x="7913689"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3364F47-EEA4-4B5E-80A4-5FDFEB522309}"/>
                    </a:ext>
                  </a:extLst>
                </p:cNvPr>
                <p:cNvSpPr/>
                <p:nvPr/>
              </p:nvSpPr>
              <p:spPr bwMode="auto">
                <a:xfrm>
                  <a:off x="8045431"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EF4FCD7-9138-412F-8214-1EC002F9F725}"/>
                    </a:ext>
                  </a:extLst>
                </p:cNvPr>
                <p:cNvSpPr/>
                <p:nvPr/>
              </p:nvSpPr>
              <p:spPr bwMode="auto">
                <a:xfrm>
                  <a:off x="8177173" y="2470417"/>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Freeform: Shape 86">
                  <a:extLst>
                    <a:ext uri="{FF2B5EF4-FFF2-40B4-BE49-F238E27FC236}">
                      <a16:creationId xmlns:a16="http://schemas.microsoft.com/office/drawing/2014/main" id="{449AB344-95E0-49D0-977B-271A473353FB}"/>
                    </a:ext>
                  </a:extLst>
                </p:cNvPr>
                <p:cNvSpPr>
                  <a:spLocks noChangeAspect="1"/>
                </p:cNvSpPr>
                <p:nvPr/>
              </p:nvSpPr>
              <p:spPr bwMode="auto">
                <a:xfrm>
                  <a:off x="7956975"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C781E179-53A3-4D09-9B3C-1FC55346CA54}"/>
                    </a:ext>
                  </a:extLst>
                </p:cNvPr>
                <p:cNvSpPr>
                  <a:spLocks noChangeAspect="1"/>
                </p:cNvSpPr>
                <p:nvPr/>
              </p:nvSpPr>
              <p:spPr bwMode="auto">
                <a:xfrm>
                  <a:off x="8088717"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Freeform: Shape 88">
                  <a:extLst>
                    <a:ext uri="{FF2B5EF4-FFF2-40B4-BE49-F238E27FC236}">
                      <a16:creationId xmlns:a16="http://schemas.microsoft.com/office/drawing/2014/main" id="{35BC525B-6FC2-4CAB-8DEA-245A6962DD93}"/>
                    </a:ext>
                  </a:extLst>
                </p:cNvPr>
                <p:cNvSpPr>
                  <a:spLocks noChangeAspect="1"/>
                </p:cNvSpPr>
                <p:nvPr/>
              </p:nvSpPr>
              <p:spPr bwMode="auto">
                <a:xfrm>
                  <a:off x="8220458" y="2470417"/>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D79F1657-9D25-48C9-9014-9D788EC82ADA}"/>
                  </a:ext>
                </a:extLst>
              </p:cNvPr>
              <p:cNvGrpSpPr/>
              <p:nvPr/>
            </p:nvGrpSpPr>
            <p:grpSpPr>
              <a:xfrm>
                <a:off x="7659708" y="2787238"/>
                <a:ext cx="370227" cy="91440"/>
                <a:chOff x="7913689" y="2637383"/>
                <a:chExt cx="370227" cy="91440"/>
              </a:xfrm>
              <a:grpFill/>
            </p:grpSpPr>
            <p:sp>
              <p:nvSpPr>
                <p:cNvPr id="78" name="Rectangle 77">
                  <a:extLst>
                    <a:ext uri="{FF2B5EF4-FFF2-40B4-BE49-F238E27FC236}">
                      <a16:creationId xmlns:a16="http://schemas.microsoft.com/office/drawing/2014/main" id="{EC25AF85-40EB-4A4D-AAB4-0B6FE652CBB7}"/>
                    </a:ext>
                  </a:extLst>
                </p:cNvPr>
                <p:cNvSpPr/>
                <p:nvPr/>
              </p:nvSpPr>
              <p:spPr bwMode="auto">
                <a:xfrm>
                  <a:off x="7913689"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D9630B28-0F97-4772-A58B-370BE094599F}"/>
                    </a:ext>
                  </a:extLst>
                </p:cNvPr>
                <p:cNvSpPr/>
                <p:nvPr/>
              </p:nvSpPr>
              <p:spPr bwMode="auto">
                <a:xfrm>
                  <a:off x="8045431"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0998DE40-31FC-4906-BFB2-A96C07F92E18}"/>
                    </a:ext>
                  </a:extLst>
                </p:cNvPr>
                <p:cNvSpPr/>
                <p:nvPr/>
              </p:nvSpPr>
              <p:spPr bwMode="auto">
                <a:xfrm>
                  <a:off x="8177173" y="2637383"/>
                  <a:ext cx="18288" cy="91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Freeform: Shape 80">
                  <a:extLst>
                    <a:ext uri="{FF2B5EF4-FFF2-40B4-BE49-F238E27FC236}">
                      <a16:creationId xmlns:a16="http://schemas.microsoft.com/office/drawing/2014/main" id="{170179F3-0ED7-4E70-93A7-FEB717837D61}"/>
                    </a:ext>
                  </a:extLst>
                </p:cNvPr>
                <p:cNvSpPr>
                  <a:spLocks noChangeAspect="1"/>
                </p:cNvSpPr>
                <p:nvPr/>
              </p:nvSpPr>
              <p:spPr bwMode="auto">
                <a:xfrm>
                  <a:off x="7956975"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2" name="Freeform: Shape 81">
                  <a:extLst>
                    <a:ext uri="{FF2B5EF4-FFF2-40B4-BE49-F238E27FC236}">
                      <a16:creationId xmlns:a16="http://schemas.microsoft.com/office/drawing/2014/main" id="{9A53171E-82CA-412F-B97B-37CE98752037}"/>
                    </a:ext>
                  </a:extLst>
                </p:cNvPr>
                <p:cNvSpPr>
                  <a:spLocks noChangeAspect="1"/>
                </p:cNvSpPr>
                <p:nvPr/>
              </p:nvSpPr>
              <p:spPr bwMode="auto">
                <a:xfrm>
                  <a:off x="8088717"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1770212E-9153-4060-8292-005A22C8553A}"/>
                    </a:ext>
                  </a:extLst>
                </p:cNvPr>
                <p:cNvSpPr>
                  <a:spLocks noChangeAspect="1"/>
                </p:cNvSpPr>
                <p:nvPr/>
              </p:nvSpPr>
              <p:spPr bwMode="auto">
                <a:xfrm>
                  <a:off x="8220458" y="2637383"/>
                  <a:ext cx="63458" cy="91440"/>
                </a:xfrm>
                <a:custGeom>
                  <a:avLst/>
                  <a:gdLst>
                    <a:gd name="connsiteX0" fmla="*/ 56918 w 113836"/>
                    <a:gd name="connsiteY0" fmla="*/ 30626 h 164033"/>
                    <a:gd name="connsiteX1" fmla="*/ 24914 w 113836"/>
                    <a:gd name="connsiteY1" fmla="*/ 62630 h 164033"/>
                    <a:gd name="connsiteX2" fmla="*/ 24914 w 113836"/>
                    <a:gd name="connsiteY2" fmla="*/ 101403 h 164033"/>
                    <a:gd name="connsiteX3" fmla="*/ 56918 w 113836"/>
                    <a:gd name="connsiteY3" fmla="*/ 133407 h 164033"/>
                    <a:gd name="connsiteX4" fmla="*/ 88922 w 113836"/>
                    <a:gd name="connsiteY4" fmla="*/ 101403 h 164033"/>
                    <a:gd name="connsiteX5" fmla="*/ 88922 w 113836"/>
                    <a:gd name="connsiteY5" fmla="*/ 62630 h 164033"/>
                    <a:gd name="connsiteX6" fmla="*/ 56918 w 113836"/>
                    <a:gd name="connsiteY6" fmla="*/ 30626 h 164033"/>
                    <a:gd name="connsiteX7" fmla="*/ 56918 w 113836"/>
                    <a:gd name="connsiteY7" fmla="*/ 0 h 164033"/>
                    <a:gd name="connsiteX8" fmla="*/ 113836 w 113836"/>
                    <a:gd name="connsiteY8" fmla="*/ 56918 h 164033"/>
                    <a:gd name="connsiteX9" fmla="*/ 113836 w 113836"/>
                    <a:gd name="connsiteY9" fmla="*/ 107115 h 164033"/>
                    <a:gd name="connsiteX10" fmla="*/ 56918 w 113836"/>
                    <a:gd name="connsiteY10" fmla="*/ 164033 h 164033"/>
                    <a:gd name="connsiteX11" fmla="*/ 0 w 113836"/>
                    <a:gd name="connsiteY11" fmla="*/ 107115 h 164033"/>
                    <a:gd name="connsiteX12" fmla="*/ 0 w 113836"/>
                    <a:gd name="connsiteY12" fmla="*/ 56918 h 164033"/>
                    <a:gd name="connsiteX13" fmla="*/ 56918 w 113836"/>
                    <a:gd name="connsiteY13" fmla="*/ 0 h 16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836" h="164033">
                      <a:moveTo>
                        <a:pt x="56918" y="30626"/>
                      </a:moveTo>
                      <a:cubicBezTo>
                        <a:pt x="39243" y="30626"/>
                        <a:pt x="24914" y="44955"/>
                        <a:pt x="24914" y="62630"/>
                      </a:cubicBezTo>
                      <a:lnTo>
                        <a:pt x="24914" y="101403"/>
                      </a:lnTo>
                      <a:cubicBezTo>
                        <a:pt x="24914" y="119078"/>
                        <a:pt x="39243" y="133407"/>
                        <a:pt x="56918" y="133407"/>
                      </a:cubicBezTo>
                      <a:cubicBezTo>
                        <a:pt x="74593" y="133407"/>
                        <a:pt x="88922" y="119078"/>
                        <a:pt x="88922" y="101403"/>
                      </a:cubicBezTo>
                      <a:lnTo>
                        <a:pt x="88922" y="62630"/>
                      </a:lnTo>
                      <a:cubicBezTo>
                        <a:pt x="88922" y="44955"/>
                        <a:pt x="74593" y="30626"/>
                        <a:pt x="56918" y="30626"/>
                      </a:cubicBezTo>
                      <a:close/>
                      <a:moveTo>
                        <a:pt x="56918" y="0"/>
                      </a:moveTo>
                      <a:cubicBezTo>
                        <a:pt x="88353" y="0"/>
                        <a:pt x="113836" y="25483"/>
                        <a:pt x="113836" y="56918"/>
                      </a:cubicBezTo>
                      <a:lnTo>
                        <a:pt x="113836" y="107115"/>
                      </a:lnTo>
                      <a:cubicBezTo>
                        <a:pt x="113836" y="138550"/>
                        <a:pt x="88353" y="164033"/>
                        <a:pt x="56918" y="164033"/>
                      </a:cubicBezTo>
                      <a:cubicBezTo>
                        <a:pt x="25483" y="164033"/>
                        <a:pt x="0" y="138550"/>
                        <a:pt x="0" y="107115"/>
                      </a:cubicBezTo>
                      <a:lnTo>
                        <a:pt x="0" y="56918"/>
                      </a:lnTo>
                      <a:cubicBezTo>
                        <a:pt x="0" y="25483"/>
                        <a:pt x="25483" y="0"/>
                        <a:pt x="569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grpSp>
        <p:nvGrpSpPr>
          <p:cNvPr id="5" name="Group 4">
            <a:extLst>
              <a:ext uri="{FF2B5EF4-FFF2-40B4-BE49-F238E27FC236}">
                <a16:creationId xmlns:a16="http://schemas.microsoft.com/office/drawing/2014/main" id="{5486B629-5B04-4325-BD81-4A21188FF4F1}"/>
              </a:ext>
              <a:ext uri="{C183D7F6-B498-43B3-948B-1728B52AA6E4}">
                <adec:decorative xmlns:adec="http://schemas.microsoft.com/office/drawing/2017/decorative" xmlns="" val="1"/>
              </a:ext>
            </a:extLst>
          </p:cNvPr>
          <p:cNvGrpSpPr>
            <a:grpSpLocks/>
          </p:cNvGrpSpPr>
          <p:nvPr/>
        </p:nvGrpSpPr>
        <p:grpSpPr>
          <a:xfrm>
            <a:off x="1059961" y="1898583"/>
            <a:ext cx="775545" cy="775545"/>
            <a:chOff x="656425" y="2154308"/>
            <a:chExt cx="875079" cy="849309"/>
          </a:xfrm>
        </p:grpSpPr>
        <p:sp>
          <p:nvSpPr>
            <p:cNvPr id="45" name="Oval 44">
              <a:extLst>
                <a:ext uri="{FF2B5EF4-FFF2-40B4-BE49-F238E27FC236}">
                  <a16:creationId xmlns:a16="http://schemas.microsoft.com/office/drawing/2014/main" id="{94F8E7FF-FE2C-4B34-822C-FDB12AC0A165}"/>
                </a:ext>
              </a:extLst>
            </p:cNvPr>
            <p:cNvSpPr/>
            <p:nvPr/>
          </p:nvSpPr>
          <p:spPr bwMode="auto">
            <a:xfrm>
              <a:off x="656425" y="2154308"/>
              <a:ext cx="875079" cy="84930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7" name="AutoShape 112">
              <a:extLst>
                <a:ext uri="{FF2B5EF4-FFF2-40B4-BE49-F238E27FC236}">
                  <a16:creationId xmlns:a16="http://schemas.microsoft.com/office/drawing/2014/main" id="{F2202146-0ADC-4D54-96B3-6293F5F061F9}"/>
                </a:ext>
              </a:extLst>
            </p:cNvPr>
            <p:cNvSpPr>
              <a:spLocks noChangeAspect="1" noChangeArrowheads="1" noTextEdit="1"/>
            </p:cNvSpPr>
            <p:nvPr/>
          </p:nvSpPr>
          <p:spPr bwMode="auto">
            <a:xfrm>
              <a:off x="838173" y="2349841"/>
              <a:ext cx="458242" cy="4582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3DE06DCB-AC34-4379-B2E2-98720CC32A8C}"/>
                </a:ext>
              </a:extLst>
            </p:cNvPr>
            <p:cNvGrpSpPr/>
            <p:nvPr/>
          </p:nvGrpSpPr>
          <p:grpSpPr>
            <a:xfrm>
              <a:off x="1033284" y="2475142"/>
              <a:ext cx="150360" cy="152150"/>
              <a:chOff x="1047047" y="2428226"/>
              <a:chExt cx="150360" cy="152150"/>
            </a:xfrm>
          </p:grpSpPr>
          <p:sp>
            <p:nvSpPr>
              <p:cNvPr id="50" name="Freeform 116">
                <a:extLst>
                  <a:ext uri="{FF2B5EF4-FFF2-40B4-BE49-F238E27FC236}">
                    <a16:creationId xmlns:a16="http://schemas.microsoft.com/office/drawing/2014/main" id="{A7B85178-8E4A-4F72-B72E-DD713420B8D1}"/>
                  </a:ext>
                </a:extLst>
              </p:cNvPr>
              <p:cNvSpPr>
                <a:spLocks/>
              </p:cNvSpPr>
              <p:nvPr/>
            </p:nvSpPr>
            <p:spPr bwMode="auto">
              <a:xfrm>
                <a:off x="1047047" y="2433596"/>
                <a:ext cx="51910" cy="69810"/>
              </a:xfrm>
              <a:custGeom>
                <a:avLst/>
                <a:gdLst>
                  <a:gd name="T0" fmla="*/ 0 w 48"/>
                  <a:gd name="T1" fmla="*/ 63 h 63"/>
                  <a:gd name="T2" fmla="*/ 0 w 48"/>
                  <a:gd name="T3" fmla="*/ 63 h 63"/>
                  <a:gd name="T4" fmla="*/ 27 w 48"/>
                  <a:gd name="T5" fmla="*/ 63 h 63"/>
                  <a:gd name="T6" fmla="*/ 48 w 48"/>
                  <a:gd name="T7" fmla="*/ 27 h 63"/>
                  <a:gd name="T8" fmla="*/ 44 w 48"/>
                  <a:gd name="T9" fmla="*/ 0 h 63"/>
                  <a:gd name="T10" fmla="*/ 0 w 48"/>
                  <a:gd name="T11" fmla="*/ 63 h 63"/>
                </a:gdLst>
                <a:ahLst/>
                <a:cxnLst>
                  <a:cxn ang="0">
                    <a:pos x="T0" y="T1"/>
                  </a:cxn>
                  <a:cxn ang="0">
                    <a:pos x="T2" y="T3"/>
                  </a:cxn>
                  <a:cxn ang="0">
                    <a:pos x="T4" y="T5"/>
                  </a:cxn>
                  <a:cxn ang="0">
                    <a:pos x="T6" y="T7"/>
                  </a:cxn>
                  <a:cxn ang="0">
                    <a:pos x="T8" y="T9"/>
                  </a:cxn>
                  <a:cxn ang="0">
                    <a:pos x="T10" y="T11"/>
                  </a:cxn>
                </a:cxnLst>
                <a:rect l="0" t="0" r="r" b="b"/>
                <a:pathLst>
                  <a:path w="48" h="63">
                    <a:moveTo>
                      <a:pt x="0" y="63"/>
                    </a:moveTo>
                    <a:lnTo>
                      <a:pt x="0" y="63"/>
                    </a:lnTo>
                    <a:lnTo>
                      <a:pt x="27" y="63"/>
                    </a:lnTo>
                    <a:cubicBezTo>
                      <a:pt x="27" y="48"/>
                      <a:pt x="36" y="35"/>
                      <a:pt x="48" y="27"/>
                    </a:cubicBezTo>
                    <a:lnTo>
                      <a:pt x="44" y="0"/>
                    </a:lnTo>
                    <a:cubicBezTo>
                      <a:pt x="18" y="10"/>
                      <a:pt x="0" y="35"/>
                      <a:pt x="0" y="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117">
                <a:extLst>
                  <a:ext uri="{FF2B5EF4-FFF2-40B4-BE49-F238E27FC236}">
                    <a16:creationId xmlns:a16="http://schemas.microsoft.com/office/drawing/2014/main" id="{F3EC81A2-BA94-4C1E-B256-1DF22B5AB789}"/>
                  </a:ext>
                </a:extLst>
              </p:cNvPr>
              <p:cNvSpPr>
                <a:spLocks/>
              </p:cNvSpPr>
              <p:nvPr/>
            </p:nvSpPr>
            <p:spPr bwMode="auto">
              <a:xfrm>
                <a:off x="1107907" y="2487296"/>
                <a:ext cx="30430" cy="30430"/>
              </a:xfrm>
              <a:custGeom>
                <a:avLst/>
                <a:gdLst>
                  <a:gd name="T0" fmla="*/ 27 w 27"/>
                  <a:gd name="T1" fmla="*/ 13 h 27"/>
                  <a:gd name="T2" fmla="*/ 27 w 27"/>
                  <a:gd name="T3" fmla="*/ 13 h 27"/>
                  <a:gd name="T4" fmla="*/ 14 w 27"/>
                  <a:gd name="T5" fmla="*/ 0 h 27"/>
                  <a:gd name="T6" fmla="*/ 0 w 27"/>
                  <a:gd name="T7" fmla="*/ 13 h 27"/>
                  <a:gd name="T8" fmla="*/ 14 w 27"/>
                  <a:gd name="T9" fmla="*/ 27 h 27"/>
                  <a:gd name="T10" fmla="*/ 27 w 27"/>
                  <a:gd name="T11" fmla="*/ 13 h 27"/>
                </a:gdLst>
                <a:ahLst/>
                <a:cxnLst>
                  <a:cxn ang="0">
                    <a:pos x="T0" y="T1"/>
                  </a:cxn>
                  <a:cxn ang="0">
                    <a:pos x="T2" y="T3"/>
                  </a:cxn>
                  <a:cxn ang="0">
                    <a:pos x="T4" y="T5"/>
                  </a:cxn>
                  <a:cxn ang="0">
                    <a:pos x="T6" y="T7"/>
                  </a:cxn>
                  <a:cxn ang="0">
                    <a:pos x="T8" y="T9"/>
                  </a:cxn>
                  <a:cxn ang="0">
                    <a:pos x="T10" y="T11"/>
                  </a:cxn>
                </a:cxnLst>
                <a:rect l="0" t="0" r="r" b="b"/>
                <a:pathLst>
                  <a:path w="27" h="27">
                    <a:moveTo>
                      <a:pt x="27" y="13"/>
                    </a:moveTo>
                    <a:lnTo>
                      <a:pt x="27" y="13"/>
                    </a:lnTo>
                    <a:cubicBezTo>
                      <a:pt x="27" y="6"/>
                      <a:pt x="21" y="0"/>
                      <a:pt x="14" y="0"/>
                    </a:cubicBezTo>
                    <a:cubicBezTo>
                      <a:pt x="6" y="0"/>
                      <a:pt x="0" y="6"/>
                      <a:pt x="0" y="13"/>
                    </a:cubicBezTo>
                    <a:cubicBezTo>
                      <a:pt x="0" y="21"/>
                      <a:pt x="6" y="27"/>
                      <a:pt x="14" y="27"/>
                    </a:cubicBezTo>
                    <a:cubicBezTo>
                      <a:pt x="21" y="27"/>
                      <a:pt x="27" y="21"/>
                      <a:pt x="27" y="1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18">
                <a:extLst>
                  <a:ext uri="{FF2B5EF4-FFF2-40B4-BE49-F238E27FC236}">
                    <a16:creationId xmlns:a16="http://schemas.microsoft.com/office/drawing/2014/main" id="{AAA8E13E-E79C-448B-83E4-83646D976671}"/>
                  </a:ext>
                </a:extLst>
              </p:cNvPr>
              <p:cNvSpPr>
                <a:spLocks/>
              </p:cNvSpPr>
              <p:nvPr/>
            </p:nvSpPr>
            <p:spPr bwMode="auto">
              <a:xfrm>
                <a:off x="1124017" y="2428226"/>
                <a:ext cx="71600" cy="55490"/>
              </a:xfrm>
              <a:custGeom>
                <a:avLst/>
                <a:gdLst>
                  <a:gd name="T0" fmla="*/ 36 w 64"/>
                  <a:gd name="T1" fmla="*/ 50 h 50"/>
                  <a:gd name="T2" fmla="*/ 36 w 64"/>
                  <a:gd name="T3" fmla="*/ 50 h 50"/>
                  <a:gd name="T4" fmla="*/ 64 w 64"/>
                  <a:gd name="T5" fmla="*/ 50 h 50"/>
                  <a:gd name="T6" fmla="*/ 0 w 64"/>
                  <a:gd name="T7" fmla="*/ 0 h 50"/>
                  <a:gd name="T8" fmla="*/ 4 w 64"/>
                  <a:gd name="T9" fmla="*/ 27 h 50"/>
                  <a:gd name="T10" fmla="*/ 36 w 64"/>
                  <a:gd name="T11" fmla="*/ 50 h 50"/>
                </a:gdLst>
                <a:ahLst/>
                <a:cxnLst>
                  <a:cxn ang="0">
                    <a:pos x="T0" y="T1"/>
                  </a:cxn>
                  <a:cxn ang="0">
                    <a:pos x="T2" y="T3"/>
                  </a:cxn>
                  <a:cxn ang="0">
                    <a:pos x="T4" y="T5"/>
                  </a:cxn>
                  <a:cxn ang="0">
                    <a:pos x="T6" y="T7"/>
                  </a:cxn>
                  <a:cxn ang="0">
                    <a:pos x="T8" y="T9"/>
                  </a:cxn>
                  <a:cxn ang="0">
                    <a:pos x="T10" y="T11"/>
                  </a:cxn>
                </a:cxnLst>
                <a:rect l="0" t="0" r="r" b="b"/>
                <a:pathLst>
                  <a:path w="64" h="50">
                    <a:moveTo>
                      <a:pt x="36" y="50"/>
                    </a:moveTo>
                    <a:lnTo>
                      <a:pt x="36" y="50"/>
                    </a:lnTo>
                    <a:lnTo>
                      <a:pt x="64" y="50"/>
                    </a:lnTo>
                    <a:cubicBezTo>
                      <a:pt x="56" y="22"/>
                      <a:pt x="31" y="1"/>
                      <a:pt x="0" y="0"/>
                    </a:cubicBezTo>
                    <a:lnTo>
                      <a:pt x="4" y="27"/>
                    </a:lnTo>
                    <a:cubicBezTo>
                      <a:pt x="18" y="29"/>
                      <a:pt x="30" y="38"/>
                      <a:pt x="36" y="5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119">
                <a:extLst>
                  <a:ext uri="{FF2B5EF4-FFF2-40B4-BE49-F238E27FC236}">
                    <a16:creationId xmlns:a16="http://schemas.microsoft.com/office/drawing/2014/main" id="{64C49AC0-BE72-42FC-8CF7-DA5643FDB66A}"/>
                  </a:ext>
                </a:extLst>
              </p:cNvPr>
              <p:cNvSpPr>
                <a:spLocks/>
              </p:cNvSpPr>
              <p:nvPr/>
            </p:nvSpPr>
            <p:spPr bwMode="auto">
              <a:xfrm>
                <a:off x="1122227" y="2512356"/>
                <a:ext cx="75180" cy="68020"/>
              </a:xfrm>
              <a:custGeom>
                <a:avLst/>
                <a:gdLst>
                  <a:gd name="T0" fmla="*/ 0 w 67"/>
                  <a:gd name="T1" fmla="*/ 33 h 60"/>
                  <a:gd name="T2" fmla="*/ 0 w 67"/>
                  <a:gd name="T3" fmla="*/ 33 h 60"/>
                  <a:gd name="T4" fmla="*/ 0 w 67"/>
                  <a:gd name="T5" fmla="*/ 60 h 60"/>
                  <a:gd name="T6" fmla="*/ 67 w 67"/>
                  <a:gd name="T7" fmla="*/ 0 h 60"/>
                  <a:gd name="T8" fmla="*/ 41 w 67"/>
                  <a:gd name="T9" fmla="*/ 0 h 60"/>
                  <a:gd name="T10" fmla="*/ 0 w 67"/>
                  <a:gd name="T11" fmla="*/ 33 h 60"/>
                </a:gdLst>
                <a:ahLst/>
                <a:cxnLst>
                  <a:cxn ang="0">
                    <a:pos x="T0" y="T1"/>
                  </a:cxn>
                  <a:cxn ang="0">
                    <a:pos x="T2" y="T3"/>
                  </a:cxn>
                  <a:cxn ang="0">
                    <a:pos x="T4" y="T5"/>
                  </a:cxn>
                  <a:cxn ang="0">
                    <a:pos x="T6" y="T7"/>
                  </a:cxn>
                  <a:cxn ang="0">
                    <a:pos x="T8" y="T9"/>
                  </a:cxn>
                  <a:cxn ang="0">
                    <a:pos x="T10" y="T11"/>
                  </a:cxn>
                </a:cxnLst>
                <a:rect l="0" t="0" r="r" b="b"/>
                <a:pathLst>
                  <a:path w="67" h="60">
                    <a:moveTo>
                      <a:pt x="0" y="33"/>
                    </a:moveTo>
                    <a:lnTo>
                      <a:pt x="0" y="33"/>
                    </a:lnTo>
                    <a:lnTo>
                      <a:pt x="0" y="60"/>
                    </a:lnTo>
                    <a:cubicBezTo>
                      <a:pt x="35" y="60"/>
                      <a:pt x="63" y="33"/>
                      <a:pt x="67" y="0"/>
                    </a:cubicBezTo>
                    <a:lnTo>
                      <a:pt x="41" y="0"/>
                    </a:lnTo>
                    <a:cubicBezTo>
                      <a:pt x="37" y="19"/>
                      <a:pt x="20" y="33"/>
                      <a:pt x="0" y="33"/>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7" name="Devices3_EA6C" title="Icon of a cellphone in front of a monitor">
              <a:extLst>
                <a:ext uri="{FF2B5EF4-FFF2-40B4-BE49-F238E27FC236}">
                  <a16:creationId xmlns:a16="http://schemas.microsoft.com/office/drawing/2014/main" id="{069CDA7E-A035-4BC0-AA85-41D62CCF471D}"/>
                </a:ext>
              </a:extLst>
            </p:cNvPr>
            <p:cNvSpPr>
              <a:spLocks noChangeAspect="1" noEditPoints="1"/>
            </p:cNvSpPr>
            <p:nvPr/>
          </p:nvSpPr>
          <p:spPr bwMode="auto">
            <a:xfrm>
              <a:off x="841300" y="2411483"/>
              <a:ext cx="480546" cy="332914"/>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567AE05-3478-4DB1-8740-517EA423E30F}"/>
              </a:ext>
              <a:ext uri="{C183D7F6-B498-43B3-948B-1728B52AA6E4}">
                <adec:decorative xmlns:adec="http://schemas.microsoft.com/office/drawing/2017/decorative" xmlns="" val="1"/>
              </a:ext>
            </a:extLst>
          </p:cNvPr>
          <p:cNvGrpSpPr>
            <a:grpSpLocks/>
          </p:cNvGrpSpPr>
          <p:nvPr/>
        </p:nvGrpSpPr>
        <p:grpSpPr>
          <a:xfrm>
            <a:off x="2683344" y="1898583"/>
            <a:ext cx="775545" cy="775545"/>
            <a:chOff x="2609680" y="2154880"/>
            <a:chExt cx="875079" cy="849308"/>
          </a:xfrm>
        </p:grpSpPr>
        <p:sp>
          <p:nvSpPr>
            <p:cNvPr id="55" name="Oval 54">
              <a:extLst>
                <a:ext uri="{FF2B5EF4-FFF2-40B4-BE49-F238E27FC236}">
                  <a16:creationId xmlns:a16="http://schemas.microsoft.com/office/drawing/2014/main" id="{5ED9E63C-8E97-4B2A-A2C0-81A6D09FAA21}"/>
                </a:ext>
              </a:extLst>
            </p:cNvPr>
            <p:cNvSpPr/>
            <p:nvPr/>
          </p:nvSpPr>
          <p:spPr bwMode="auto">
            <a:xfrm>
              <a:off x="2609680" y="2154880"/>
              <a:ext cx="875079" cy="849308"/>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73" name="Freeform: Shape 172">
              <a:extLst>
                <a:ext uri="{FF2B5EF4-FFF2-40B4-BE49-F238E27FC236}">
                  <a16:creationId xmlns:a16="http://schemas.microsoft.com/office/drawing/2014/main" id="{B214222B-4141-44E5-A2AF-9005652CAD20}"/>
                </a:ext>
              </a:extLst>
            </p:cNvPr>
            <p:cNvSpPr/>
            <p:nvPr/>
          </p:nvSpPr>
          <p:spPr>
            <a:xfrm>
              <a:off x="2988863" y="2354564"/>
              <a:ext cx="244764" cy="406876"/>
            </a:xfrm>
            <a:custGeom>
              <a:avLst/>
              <a:gdLst>
                <a:gd name="connsiteX0" fmla="*/ 0 w 146685"/>
                <a:gd name="connsiteY0" fmla="*/ 0 h 243839"/>
                <a:gd name="connsiteX1" fmla="*/ 146685 w 146685"/>
                <a:gd name="connsiteY1" fmla="*/ 0 h 243839"/>
                <a:gd name="connsiteX2" fmla="*/ 146685 w 146685"/>
                <a:gd name="connsiteY2" fmla="*/ 243839 h 243839"/>
                <a:gd name="connsiteX3" fmla="*/ 83821 w 146685"/>
                <a:gd name="connsiteY3" fmla="*/ 243839 h 243839"/>
                <a:gd name="connsiteX4" fmla="*/ 83821 w 146685"/>
                <a:gd name="connsiteY4" fmla="*/ 59054 h 243839"/>
                <a:gd name="connsiteX5" fmla="*/ 0 w 146685"/>
                <a:gd name="connsiteY5" fmla="*/ 59054 h 243839"/>
                <a:gd name="connsiteX0" fmla="*/ 83821 w 175261"/>
                <a:gd name="connsiteY0" fmla="*/ 59054 h 243839"/>
                <a:gd name="connsiteX1" fmla="*/ 0 w 175261"/>
                <a:gd name="connsiteY1" fmla="*/ 59054 h 243839"/>
                <a:gd name="connsiteX2" fmla="*/ 0 w 175261"/>
                <a:gd name="connsiteY2" fmla="*/ 0 h 243839"/>
                <a:gd name="connsiteX3" fmla="*/ 146685 w 175261"/>
                <a:gd name="connsiteY3" fmla="*/ 0 h 243839"/>
                <a:gd name="connsiteX4" fmla="*/ 146685 w 175261"/>
                <a:gd name="connsiteY4" fmla="*/ 243839 h 243839"/>
                <a:gd name="connsiteX5" fmla="*/ 83821 w 175261"/>
                <a:gd name="connsiteY5" fmla="*/ 243839 h 243839"/>
                <a:gd name="connsiteX6" fmla="*/ 175261 w 175261"/>
                <a:gd name="connsiteY6" fmla="*/ 150494 h 243839"/>
                <a:gd name="connsiteX0" fmla="*/ 83821 w 146685"/>
                <a:gd name="connsiteY0" fmla="*/ 59054 h 243839"/>
                <a:gd name="connsiteX1" fmla="*/ 0 w 146685"/>
                <a:gd name="connsiteY1" fmla="*/ 59054 h 243839"/>
                <a:gd name="connsiteX2" fmla="*/ 0 w 146685"/>
                <a:gd name="connsiteY2" fmla="*/ 0 h 243839"/>
                <a:gd name="connsiteX3" fmla="*/ 146685 w 146685"/>
                <a:gd name="connsiteY3" fmla="*/ 0 h 243839"/>
                <a:gd name="connsiteX4" fmla="*/ 146685 w 146685"/>
                <a:gd name="connsiteY4" fmla="*/ 243839 h 243839"/>
                <a:gd name="connsiteX5" fmla="*/ 83821 w 146685"/>
                <a:gd name="connsiteY5" fmla="*/ 243839 h 243839"/>
                <a:gd name="connsiteX0" fmla="*/ 0 w 146685"/>
                <a:gd name="connsiteY0" fmla="*/ 59054 h 243839"/>
                <a:gd name="connsiteX1" fmla="*/ 0 w 146685"/>
                <a:gd name="connsiteY1" fmla="*/ 0 h 243839"/>
                <a:gd name="connsiteX2" fmla="*/ 146685 w 146685"/>
                <a:gd name="connsiteY2" fmla="*/ 0 h 243839"/>
                <a:gd name="connsiteX3" fmla="*/ 146685 w 146685"/>
                <a:gd name="connsiteY3" fmla="*/ 243839 h 243839"/>
                <a:gd name="connsiteX4" fmla="*/ 83821 w 146685"/>
                <a:gd name="connsiteY4" fmla="*/ 243839 h 243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243839">
                  <a:moveTo>
                    <a:pt x="0" y="59054"/>
                  </a:moveTo>
                  <a:lnTo>
                    <a:pt x="0" y="0"/>
                  </a:lnTo>
                  <a:lnTo>
                    <a:pt x="146685" y="0"/>
                  </a:lnTo>
                  <a:lnTo>
                    <a:pt x="146685" y="243839"/>
                  </a:lnTo>
                  <a:lnTo>
                    <a:pt x="83821" y="243839"/>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84CE5CC1-4E9E-4355-B0B5-57A4D3A436A9}"/>
                </a:ext>
              </a:extLst>
            </p:cNvPr>
            <p:cNvSpPr/>
            <p:nvPr/>
          </p:nvSpPr>
          <p:spPr>
            <a:xfrm>
              <a:off x="2912574" y="2453103"/>
              <a:ext cx="216156" cy="308337"/>
            </a:xfrm>
            <a:custGeom>
              <a:avLst/>
              <a:gdLst>
                <a:gd name="connsiteX0" fmla="*/ 0 w 129540"/>
                <a:gd name="connsiteY0" fmla="*/ 0 h 184785"/>
                <a:gd name="connsiteX1" fmla="*/ 129540 w 129540"/>
                <a:gd name="connsiteY1" fmla="*/ 0 h 184785"/>
                <a:gd name="connsiteX2" fmla="*/ 129540 w 129540"/>
                <a:gd name="connsiteY2" fmla="*/ 184785 h 184785"/>
                <a:gd name="connsiteX3" fmla="*/ 81915 w 129540"/>
                <a:gd name="connsiteY3" fmla="*/ 184785 h 184785"/>
                <a:gd name="connsiteX4" fmla="*/ 81915 w 129540"/>
                <a:gd name="connsiteY4" fmla="*/ 55246 h 184785"/>
                <a:gd name="connsiteX5" fmla="*/ 0 w 129540"/>
                <a:gd name="connsiteY5" fmla="*/ 55246 h 184785"/>
                <a:gd name="connsiteX0" fmla="*/ 81915 w 173355"/>
                <a:gd name="connsiteY0" fmla="*/ 55246 h 184785"/>
                <a:gd name="connsiteX1" fmla="*/ 0 w 173355"/>
                <a:gd name="connsiteY1" fmla="*/ 55246 h 184785"/>
                <a:gd name="connsiteX2" fmla="*/ 0 w 173355"/>
                <a:gd name="connsiteY2" fmla="*/ 0 h 184785"/>
                <a:gd name="connsiteX3" fmla="*/ 129540 w 173355"/>
                <a:gd name="connsiteY3" fmla="*/ 0 h 184785"/>
                <a:gd name="connsiteX4" fmla="*/ 129540 w 173355"/>
                <a:gd name="connsiteY4" fmla="*/ 184785 h 184785"/>
                <a:gd name="connsiteX5" fmla="*/ 81915 w 173355"/>
                <a:gd name="connsiteY5" fmla="*/ 184785 h 184785"/>
                <a:gd name="connsiteX6" fmla="*/ 173355 w 173355"/>
                <a:gd name="connsiteY6" fmla="*/ 146686 h 184785"/>
                <a:gd name="connsiteX0" fmla="*/ 81915 w 129540"/>
                <a:gd name="connsiteY0" fmla="*/ 55246 h 184785"/>
                <a:gd name="connsiteX1" fmla="*/ 0 w 129540"/>
                <a:gd name="connsiteY1" fmla="*/ 55246 h 184785"/>
                <a:gd name="connsiteX2" fmla="*/ 0 w 129540"/>
                <a:gd name="connsiteY2" fmla="*/ 0 h 184785"/>
                <a:gd name="connsiteX3" fmla="*/ 129540 w 129540"/>
                <a:gd name="connsiteY3" fmla="*/ 0 h 184785"/>
                <a:gd name="connsiteX4" fmla="*/ 129540 w 129540"/>
                <a:gd name="connsiteY4" fmla="*/ 184785 h 184785"/>
                <a:gd name="connsiteX5" fmla="*/ 81915 w 129540"/>
                <a:gd name="connsiteY5" fmla="*/ 184785 h 184785"/>
                <a:gd name="connsiteX0" fmla="*/ 0 w 129540"/>
                <a:gd name="connsiteY0" fmla="*/ 55246 h 184785"/>
                <a:gd name="connsiteX1" fmla="*/ 0 w 129540"/>
                <a:gd name="connsiteY1" fmla="*/ 0 h 184785"/>
                <a:gd name="connsiteX2" fmla="*/ 129540 w 129540"/>
                <a:gd name="connsiteY2" fmla="*/ 0 h 184785"/>
                <a:gd name="connsiteX3" fmla="*/ 129540 w 129540"/>
                <a:gd name="connsiteY3" fmla="*/ 184785 h 184785"/>
                <a:gd name="connsiteX4" fmla="*/ 81915 w 129540"/>
                <a:gd name="connsiteY4" fmla="*/ 184785 h 18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184785">
                  <a:moveTo>
                    <a:pt x="0" y="55246"/>
                  </a:moveTo>
                  <a:lnTo>
                    <a:pt x="0" y="0"/>
                  </a:lnTo>
                  <a:lnTo>
                    <a:pt x="129540" y="0"/>
                  </a:lnTo>
                  <a:lnTo>
                    <a:pt x="129540" y="184785"/>
                  </a:lnTo>
                  <a:lnTo>
                    <a:pt x="81915" y="18478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0A65372B-DB38-4AF1-B653-F5B82FFEE38D}"/>
                </a:ext>
              </a:extLst>
            </p:cNvPr>
            <p:cNvSpPr/>
            <p:nvPr/>
          </p:nvSpPr>
          <p:spPr>
            <a:xfrm>
              <a:off x="2833105" y="2545288"/>
              <a:ext cx="216156" cy="216154"/>
            </a:xfrm>
            <a:prstGeom prst="rect">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6DDD9F4F-7074-4DB8-9E7F-4E05F2787D68}"/>
              </a:ext>
              <a:ext uri="{C183D7F6-B498-43B3-948B-1728B52AA6E4}">
                <adec:decorative xmlns:adec="http://schemas.microsoft.com/office/drawing/2017/decorative" xmlns="" val="1"/>
              </a:ext>
            </a:extLst>
          </p:cNvPr>
          <p:cNvGrpSpPr>
            <a:grpSpLocks/>
          </p:cNvGrpSpPr>
          <p:nvPr/>
        </p:nvGrpSpPr>
        <p:grpSpPr>
          <a:xfrm>
            <a:off x="4282250" y="3307070"/>
            <a:ext cx="775545" cy="775545"/>
            <a:chOff x="5241535" y="4536694"/>
            <a:chExt cx="864768" cy="873970"/>
          </a:xfrm>
        </p:grpSpPr>
        <p:sp>
          <p:nvSpPr>
            <p:cNvPr id="42" name="Oval 41">
              <a:extLst>
                <a:ext uri="{FF2B5EF4-FFF2-40B4-BE49-F238E27FC236}">
                  <a16:creationId xmlns:a16="http://schemas.microsoft.com/office/drawing/2014/main" id="{4B9552FC-26E3-4315-A51F-FA2C03BBEA71}"/>
                </a:ext>
              </a:extLst>
            </p:cNvPr>
            <p:cNvSpPr/>
            <p:nvPr/>
          </p:nvSpPr>
          <p:spPr bwMode="auto">
            <a:xfrm>
              <a:off x="5241535" y="4536694"/>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43" name="Freeform 1018">
              <a:extLst>
                <a:ext uri="{FF2B5EF4-FFF2-40B4-BE49-F238E27FC236}">
                  <a16:creationId xmlns:a16="http://schemas.microsoft.com/office/drawing/2014/main" id="{2AE7A758-0A21-4E0B-825F-1799FCDA1DEA}"/>
                </a:ext>
              </a:extLst>
            </p:cNvPr>
            <p:cNvSpPr>
              <a:spLocks/>
            </p:cNvSpPr>
            <p:nvPr/>
          </p:nvSpPr>
          <p:spPr bwMode="auto">
            <a:xfrm>
              <a:off x="5502871" y="4786557"/>
              <a:ext cx="324031" cy="402626"/>
            </a:xfrm>
            <a:custGeom>
              <a:avLst/>
              <a:gdLst>
                <a:gd name="T0" fmla="*/ 102 w 102"/>
                <a:gd name="T1" fmla="*/ 0 h 102"/>
                <a:gd name="T2" fmla="*/ 60 w 102"/>
                <a:gd name="T3" fmla="*/ 0 h 102"/>
                <a:gd name="T4" fmla="*/ 13 w 102"/>
                <a:gd name="T5" fmla="*/ 58 h 102"/>
                <a:gd name="T6" fmla="*/ 38 w 102"/>
                <a:gd name="T7" fmla="*/ 58 h 102"/>
                <a:gd name="T8" fmla="*/ 0 w 102"/>
                <a:gd name="T9" fmla="*/ 102 h 102"/>
                <a:gd name="T10" fmla="*/ 9 w 102"/>
                <a:gd name="T11" fmla="*/ 102 h 102"/>
                <a:gd name="T12" fmla="*/ 92 w 102"/>
                <a:gd name="T13" fmla="*/ 42 h 102"/>
                <a:gd name="T14" fmla="*/ 57 w 102"/>
                <a:gd name="T15" fmla="*/ 42 h 102"/>
                <a:gd name="T16" fmla="*/ 102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102" y="0"/>
                  </a:moveTo>
                  <a:lnTo>
                    <a:pt x="60" y="0"/>
                  </a:lnTo>
                  <a:lnTo>
                    <a:pt x="13" y="58"/>
                  </a:lnTo>
                  <a:lnTo>
                    <a:pt x="38" y="58"/>
                  </a:lnTo>
                  <a:lnTo>
                    <a:pt x="0" y="102"/>
                  </a:lnTo>
                  <a:lnTo>
                    <a:pt x="9" y="102"/>
                  </a:lnTo>
                  <a:lnTo>
                    <a:pt x="92" y="42"/>
                  </a:lnTo>
                  <a:lnTo>
                    <a:pt x="57" y="42"/>
                  </a:lnTo>
                  <a:lnTo>
                    <a:pt x="102" y="0"/>
                  </a:ln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768CFEB8-8804-4F77-9588-BF7CB3BE981B}"/>
              </a:ext>
              <a:ext uri="{C183D7F6-B498-43B3-948B-1728B52AA6E4}">
                <adec:decorative xmlns:adec="http://schemas.microsoft.com/office/drawing/2017/decorative" xmlns="" val="1"/>
              </a:ext>
            </a:extLst>
          </p:cNvPr>
          <p:cNvGrpSpPr>
            <a:grpSpLocks/>
          </p:cNvGrpSpPr>
          <p:nvPr/>
        </p:nvGrpSpPr>
        <p:grpSpPr>
          <a:xfrm>
            <a:off x="1059961" y="3290218"/>
            <a:ext cx="775545" cy="775545"/>
            <a:chOff x="656770" y="4599298"/>
            <a:chExt cx="864768" cy="873969"/>
          </a:xfrm>
        </p:grpSpPr>
        <p:sp>
          <p:nvSpPr>
            <p:cNvPr id="17" name="Oval 16">
              <a:extLst>
                <a:ext uri="{FF2B5EF4-FFF2-40B4-BE49-F238E27FC236}">
                  <a16:creationId xmlns:a16="http://schemas.microsoft.com/office/drawing/2014/main" id="{0C09327C-CA98-4C6F-97BC-FD3899959755}"/>
                </a:ext>
              </a:extLst>
            </p:cNvPr>
            <p:cNvSpPr/>
            <p:nvPr/>
          </p:nvSpPr>
          <p:spPr bwMode="auto">
            <a:xfrm>
              <a:off x="656770" y="4599298"/>
              <a:ext cx="864768" cy="873969"/>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79" name="chip" title="Icon of a computer chip">
              <a:extLst>
                <a:ext uri="{FF2B5EF4-FFF2-40B4-BE49-F238E27FC236}">
                  <a16:creationId xmlns:a16="http://schemas.microsoft.com/office/drawing/2014/main" id="{E9CC0061-8174-42A4-902C-CB1EEFB54720}"/>
                </a:ext>
              </a:extLst>
            </p:cNvPr>
            <p:cNvSpPr>
              <a:spLocks noChangeAspect="1" noEditPoints="1"/>
            </p:cNvSpPr>
            <p:nvPr/>
          </p:nvSpPr>
          <p:spPr bwMode="auto">
            <a:xfrm>
              <a:off x="899004" y="4842278"/>
              <a:ext cx="380300" cy="38800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653B3A6-2B12-4081-B22E-4F21EDF63C71}"/>
              </a:ext>
              <a:ext uri="{C183D7F6-B498-43B3-948B-1728B52AA6E4}">
                <adec:decorative xmlns:adec="http://schemas.microsoft.com/office/drawing/2017/decorative" xmlns="" val="1"/>
              </a:ext>
            </a:extLst>
          </p:cNvPr>
          <p:cNvGrpSpPr>
            <a:grpSpLocks/>
          </p:cNvGrpSpPr>
          <p:nvPr/>
        </p:nvGrpSpPr>
        <p:grpSpPr>
          <a:xfrm>
            <a:off x="5884788" y="3314756"/>
            <a:ext cx="775545" cy="775545"/>
            <a:chOff x="7245112" y="4605067"/>
            <a:chExt cx="864768" cy="873970"/>
          </a:xfrm>
        </p:grpSpPr>
        <p:sp>
          <p:nvSpPr>
            <p:cNvPr id="68" name="Oval 67">
              <a:extLst>
                <a:ext uri="{FF2B5EF4-FFF2-40B4-BE49-F238E27FC236}">
                  <a16:creationId xmlns:a16="http://schemas.microsoft.com/office/drawing/2014/main" id="{4DF20BE8-AE44-47B7-BBC4-C93A8E5BBAA9}"/>
                </a:ext>
              </a:extLst>
            </p:cNvPr>
            <p:cNvSpPr/>
            <p:nvPr/>
          </p:nvSpPr>
          <p:spPr bwMode="auto">
            <a:xfrm>
              <a:off x="7245112" y="4605067"/>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86" name="Database_EFC7" title="Icon of a cylinder">
              <a:extLst>
                <a:ext uri="{FF2B5EF4-FFF2-40B4-BE49-F238E27FC236}">
                  <a16:creationId xmlns:a16="http://schemas.microsoft.com/office/drawing/2014/main" id="{BEE01882-FB30-45CE-A27D-8515C14016C8}"/>
                </a:ext>
              </a:extLst>
            </p:cNvPr>
            <p:cNvSpPr>
              <a:spLocks noChangeAspect="1" noEditPoints="1"/>
            </p:cNvSpPr>
            <p:nvPr/>
          </p:nvSpPr>
          <p:spPr bwMode="auto">
            <a:xfrm>
              <a:off x="7512008" y="4826093"/>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F6137287-E7C1-442C-AFB0-91376C4D0595}"/>
              </a:ext>
              <a:ext uri="{C183D7F6-B498-43B3-948B-1728B52AA6E4}">
                <adec:decorative xmlns:adec="http://schemas.microsoft.com/office/drawing/2017/decorative" xmlns="" val="1"/>
              </a:ext>
            </a:extLst>
          </p:cNvPr>
          <p:cNvGrpSpPr>
            <a:grpSpLocks/>
          </p:cNvGrpSpPr>
          <p:nvPr/>
        </p:nvGrpSpPr>
        <p:grpSpPr>
          <a:xfrm>
            <a:off x="2683344" y="3311712"/>
            <a:ext cx="775545" cy="775545"/>
            <a:chOff x="2593281" y="4507556"/>
            <a:chExt cx="864768" cy="873970"/>
          </a:xfrm>
        </p:grpSpPr>
        <p:sp>
          <p:nvSpPr>
            <p:cNvPr id="33" name="Oval 32">
              <a:extLst>
                <a:ext uri="{FF2B5EF4-FFF2-40B4-BE49-F238E27FC236}">
                  <a16:creationId xmlns:a16="http://schemas.microsoft.com/office/drawing/2014/main" id="{DBAD3150-C5EC-420B-9F13-58AC5BEFE956}"/>
                </a:ext>
              </a:extLst>
            </p:cNvPr>
            <p:cNvSpPr/>
            <p:nvPr/>
          </p:nvSpPr>
          <p:spPr bwMode="auto">
            <a:xfrm>
              <a:off x="2593281" y="4507556"/>
              <a:ext cx="864768" cy="873970"/>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158" name="Trim_video" title="Icon of a video timeline with trim marks">
              <a:extLst>
                <a:ext uri="{FF2B5EF4-FFF2-40B4-BE49-F238E27FC236}">
                  <a16:creationId xmlns:a16="http://schemas.microsoft.com/office/drawing/2014/main" id="{E8257D58-7E47-4611-95F9-5D386DF59280}"/>
                </a:ext>
              </a:extLst>
            </p:cNvPr>
            <p:cNvSpPr>
              <a:spLocks noChangeAspect="1" noEditPoints="1"/>
            </p:cNvSpPr>
            <p:nvPr/>
          </p:nvSpPr>
          <p:spPr bwMode="auto">
            <a:xfrm>
              <a:off x="2753284" y="4703483"/>
              <a:ext cx="460028" cy="365760"/>
            </a:xfrm>
            <a:custGeom>
              <a:avLst/>
              <a:gdLst>
                <a:gd name="T0" fmla="*/ 182 w 244"/>
                <a:gd name="T1" fmla="*/ 95 h 194"/>
                <a:gd name="T2" fmla="*/ 182 w 244"/>
                <a:gd name="T3" fmla="*/ 124 h 194"/>
                <a:gd name="T4" fmla="*/ 63 w 244"/>
                <a:gd name="T5" fmla="*/ 124 h 194"/>
                <a:gd name="T6" fmla="*/ 63 w 244"/>
                <a:gd name="T7" fmla="*/ 69 h 194"/>
                <a:gd name="T8" fmla="*/ 182 w 244"/>
                <a:gd name="T9" fmla="*/ 69 h 194"/>
                <a:gd name="T10" fmla="*/ 182 w 244"/>
                <a:gd name="T11" fmla="*/ 95 h 194"/>
                <a:gd name="T12" fmla="*/ 33 w 244"/>
                <a:gd name="T13" fmla="*/ 129 h 194"/>
                <a:gd name="T14" fmla="*/ 33 w 244"/>
                <a:gd name="T15" fmla="*/ 64 h 194"/>
                <a:gd name="T16" fmla="*/ 0 w 244"/>
                <a:gd name="T17" fmla="*/ 64 h 194"/>
                <a:gd name="T18" fmla="*/ 0 w 244"/>
                <a:gd name="T19" fmla="*/ 129 h 194"/>
                <a:gd name="T20" fmla="*/ 211 w 244"/>
                <a:gd name="T21" fmla="*/ 64 h 194"/>
                <a:gd name="T22" fmla="*/ 211 w 244"/>
                <a:gd name="T23" fmla="*/ 129 h 194"/>
                <a:gd name="T24" fmla="*/ 179 w 244"/>
                <a:gd name="T25" fmla="*/ 32 h 194"/>
                <a:gd name="T26" fmla="*/ 179 w 244"/>
                <a:gd name="T27" fmla="*/ 48 h 194"/>
                <a:gd name="T28" fmla="*/ 179 w 244"/>
                <a:gd name="T29" fmla="*/ 0 h 194"/>
                <a:gd name="T30" fmla="*/ 179 w 244"/>
                <a:gd name="T31" fmla="*/ 16 h 194"/>
                <a:gd name="T32" fmla="*/ 66 w 244"/>
                <a:gd name="T33" fmla="*/ 32 h 194"/>
                <a:gd name="T34" fmla="*/ 66 w 244"/>
                <a:gd name="T35" fmla="*/ 48 h 194"/>
                <a:gd name="T36" fmla="*/ 66 w 244"/>
                <a:gd name="T37" fmla="*/ 0 h 194"/>
                <a:gd name="T38" fmla="*/ 66 w 244"/>
                <a:gd name="T39" fmla="*/ 16 h 194"/>
                <a:gd name="T40" fmla="*/ 179 w 244"/>
                <a:gd name="T41" fmla="*/ 178 h 194"/>
                <a:gd name="T42" fmla="*/ 179 w 244"/>
                <a:gd name="T43" fmla="*/ 194 h 194"/>
                <a:gd name="T44" fmla="*/ 179 w 244"/>
                <a:gd name="T45" fmla="*/ 146 h 194"/>
                <a:gd name="T46" fmla="*/ 179 w 244"/>
                <a:gd name="T47" fmla="*/ 162 h 194"/>
                <a:gd name="T48" fmla="*/ 66 w 244"/>
                <a:gd name="T49" fmla="*/ 178 h 194"/>
                <a:gd name="T50" fmla="*/ 66 w 244"/>
                <a:gd name="T51" fmla="*/ 194 h 194"/>
                <a:gd name="T52" fmla="*/ 66 w 244"/>
                <a:gd name="T53" fmla="*/ 145 h 194"/>
                <a:gd name="T54" fmla="*/ 66 w 244"/>
                <a:gd name="T55" fmla="*/ 161 h 194"/>
                <a:gd name="T56" fmla="*/ 244 w 244"/>
                <a:gd name="T57" fmla="*/ 64 h 194"/>
                <a:gd name="T58" fmla="*/ 244 w 244"/>
                <a:gd name="T59" fmla="*/ 12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4" h="194">
                  <a:moveTo>
                    <a:pt x="182" y="95"/>
                  </a:moveTo>
                  <a:lnTo>
                    <a:pt x="182" y="124"/>
                  </a:lnTo>
                  <a:lnTo>
                    <a:pt x="63" y="124"/>
                  </a:lnTo>
                  <a:lnTo>
                    <a:pt x="63" y="69"/>
                  </a:lnTo>
                  <a:lnTo>
                    <a:pt x="182" y="69"/>
                  </a:lnTo>
                  <a:lnTo>
                    <a:pt x="182" y="95"/>
                  </a:lnTo>
                  <a:moveTo>
                    <a:pt x="33" y="129"/>
                  </a:moveTo>
                  <a:lnTo>
                    <a:pt x="33" y="64"/>
                  </a:lnTo>
                  <a:moveTo>
                    <a:pt x="0" y="64"/>
                  </a:moveTo>
                  <a:lnTo>
                    <a:pt x="0" y="129"/>
                  </a:lnTo>
                  <a:moveTo>
                    <a:pt x="211" y="64"/>
                  </a:moveTo>
                  <a:lnTo>
                    <a:pt x="211" y="129"/>
                  </a:lnTo>
                  <a:moveTo>
                    <a:pt x="179" y="32"/>
                  </a:moveTo>
                  <a:lnTo>
                    <a:pt x="179" y="48"/>
                  </a:lnTo>
                  <a:moveTo>
                    <a:pt x="179" y="0"/>
                  </a:moveTo>
                  <a:lnTo>
                    <a:pt x="179" y="16"/>
                  </a:lnTo>
                  <a:moveTo>
                    <a:pt x="66" y="32"/>
                  </a:moveTo>
                  <a:lnTo>
                    <a:pt x="66" y="48"/>
                  </a:lnTo>
                  <a:moveTo>
                    <a:pt x="66" y="0"/>
                  </a:moveTo>
                  <a:lnTo>
                    <a:pt x="66" y="16"/>
                  </a:lnTo>
                  <a:moveTo>
                    <a:pt x="179" y="178"/>
                  </a:moveTo>
                  <a:lnTo>
                    <a:pt x="179" y="194"/>
                  </a:lnTo>
                  <a:moveTo>
                    <a:pt x="179" y="146"/>
                  </a:moveTo>
                  <a:lnTo>
                    <a:pt x="179" y="162"/>
                  </a:lnTo>
                  <a:moveTo>
                    <a:pt x="66" y="178"/>
                  </a:moveTo>
                  <a:lnTo>
                    <a:pt x="66" y="194"/>
                  </a:lnTo>
                  <a:moveTo>
                    <a:pt x="66" y="145"/>
                  </a:moveTo>
                  <a:lnTo>
                    <a:pt x="66" y="161"/>
                  </a:lnTo>
                  <a:moveTo>
                    <a:pt x="244" y="64"/>
                  </a:moveTo>
                  <a:lnTo>
                    <a:pt x="244" y="129"/>
                  </a:lnTo>
                </a:path>
              </a:pathLst>
            </a:custGeom>
            <a:noFill/>
            <a:ln w="15875" cap="sq">
              <a:solidFill>
                <a:schemeClr val="accent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6" name="Processing_E9F5" title="Icon of two interlocked gears">
              <a:extLst>
                <a:ext uri="{FF2B5EF4-FFF2-40B4-BE49-F238E27FC236}">
                  <a16:creationId xmlns:a16="http://schemas.microsoft.com/office/drawing/2014/main" id="{6D9C2F7F-9D05-45EE-99C4-4CEBBCC66BFF}"/>
                </a:ext>
              </a:extLst>
            </p:cNvPr>
            <p:cNvSpPr>
              <a:spLocks noChangeAspect="1" noEditPoints="1"/>
            </p:cNvSpPr>
            <p:nvPr/>
          </p:nvSpPr>
          <p:spPr bwMode="auto">
            <a:xfrm flipH="1">
              <a:off x="3039618" y="5022887"/>
              <a:ext cx="297246" cy="25888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5C0FA56D-5D12-4647-8F18-15E1CDC169E0}"/>
              </a:ext>
              <a:ext uri="{C183D7F6-B498-43B3-948B-1728B52AA6E4}">
                <adec:decorative xmlns:adec="http://schemas.microsoft.com/office/drawing/2017/decorative" xmlns="" val="1"/>
              </a:ext>
            </a:extLst>
          </p:cNvPr>
          <p:cNvGrpSpPr/>
          <p:nvPr/>
        </p:nvGrpSpPr>
        <p:grpSpPr>
          <a:xfrm>
            <a:off x="7516860" y="3285485"/>
            <a:ext cx="775545" cy="775545"/>
            <a:chOff x="6696745" y="3093756"/>
            <a:chExt cx="775545" cy="775545"/>
          </a:xfrm>
        </p:grpSpPr>
        <p:sp>
          <p:nvSpPr>
            <p:cNvPr id="257" name="Oval 256">
              <a:extLst>
                <a:ext uri="{FF2B5EF4-FFF2-40B4-BE49-F238E27FC236}">
                  <a16:creationId xmlns:a16="http://schemas.microsoft.com/office/drawing/2014/main" id="{4F51974F-0D3F-4A19-AA54-4E822BBBA0D2}"/>
                </a:ext>
              </a:extLst>
            </p:cNvPr>
            <p:cNvSpPr/>
            <p:nvPr/>
          </p:nvSpPr>
          <p:spPr bwMode="auto">
            <a:xfrm>
              <a:off x="6696745" y="3093756"/>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pic>
          <p:nvPicPr>
            <p:cNvPr id="58" name="Graphic 57">
              <a:extLst>
                <a:ext uri="{FF2B5EF4-FFF2-40B4-BE49-F238E27FC236}">
                  <a16:creationId xmlns:a16="http://schemas.microsoft.com/office/drawing/2014/main" id="{367C5D8C-F84C-45FA-859D-06184DE2F70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907076" y="3279225"/>
              <a:ext cx="325148" cy="404606"/>
            </a:xfrm>
            <a:prstGeom prst="rect">
              <a:avLst/>
            </a:prstGeom>
          </p:spPr>
        </p:pic>
      </p:grpSp>
      <p:grpSp>
        <p:nvGrpSpPr>
          <p:cNvPr id="34" name="Group 33">
            <a:extLst>
              <a:ext uri="{FF2B5EF4-FFF2-40B4-BE49-F238E27FC236}">
                <a16:creationId xmlns:a16="http://schemas.microsoft.com/office/drawing/2014/main" id="{B4720CAD-934E-408E-8087-033952CBE98D}"/>
              </a:ext>
              <a:ext uri="{C183D7F6-B498-43B3-948B-1728B52AA6E4}">
                <adec:decorative xmlns:adec="http://schemas.microsoft.com/office/drawing/2017/decorative" xmlns="" val="1"/>
              </a:ext>
            </a:extLst>
          </p:cNvPr>
          <p:cNvGrpSpPr/>
          <p:nvPr/>
        </p:nvGrpSpPr>
        <p:grpSpPr>
          <a:xfrm>
            <a:off x="584199" y="1547081"/>
            <a:ext cx="8224010" cy="3066757"/>
            <a:chOff x="584199" y="1547655"/>
            <a:chExt cx="7557969" cy="2826546"/>
          </a:xfrm>
        </p:grpSpPr>
        <p:sp>
          <p:nvSpPr>
            <p:cNvPr id="4" name="Rectangle 3">
              <a:extLst>
                <a:ext uri="{FF2B5EF4-FFF2-40B4-BE49-F238E27FC236}">
                  <a16:creationId xmlns:a16="http://schemas.microsoft.com/office/drawing/2014/main" id="{2FD717F8-5CB3-4C43-87F3-9C5D50DA0654}"/>
                </a:ext>
              </a:extLst>
            </p:cNvPr>
            <p:cNvSpPr/>
            <p:nvPr/>
          </p:nvSpPr>
          <p:spPr>
            <a:xfrm>
              <a:off x="584199" y="1639410"/>
              <a:ext cx="7557969" cy="2734791"/>
            </a:xfrm>
            <a:prstGeom prst="rect">
              <a:avLst/>
            </a:pr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43623FF-0535-4E45-99C2-FFB94C9CA7EC}"/>
                </a:ext>
              </a:extLst>
            </p:cNvPr>
            <p:cNvSpPr txBox="1"/>
            <p:nvPr/>
          </p:nvSpPr>
          <p:spPr>
            <a:xfrm>
              <a:off x="3686641" y="1547655"/>
              <a:ext cx="1311720" cy="153181"/>
            </a:xfrm>
            <a:prstGeom prst="rect">
              <a:avLst/>
            </a:prstGeom>
            <a:solidFill>
              <a:schemeClr val="bg1"/>
            </a:solidFill>
          </p:spPr>
          <p:txBody>
            <a:bodyPr wrap="none" lIns="0" tIns="0" rIns="0" bIns="0" rtlCol="0">
              <a:spAutoFit/>
            </a:bodyPr>
            <a:lstStyle/>
            <a:p>
              <a:pPr marL="0" marR="0" lvl="0" indent="0" algn="ctr" defTabSz="896215" rtl="0" eaLnBrk="1" fontAlgn="base" latinLnBrk="0" hangingPunct="1">
                <a:lnSpc>
                  <a:spcPct val="90000"/>
                </a:lnSpc>
                <a:spcBef>
                  <a:spcPct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 MACHINES</a:t>
              </a:r>
            </a:p>
          </p:txBody>
        </p:sp>
      </p:grpSp>
      <p:grpSp>
        <p:nvGrpSpPr>
          <p:cNvPr id="44" name="Group 43" descr="General Purpose: Windows Server, SQL Server, Linux">
            <a:extLst>
              <a:ext uri="{FF2B5EF4-FFF2-40B4-BE49-F238E27FC236}">
                <a16:creationId xmlns:a16="http://schemas.microsoft.com/office/drawing/2014/main" id="{DB40404D-949B-45BD-A771-20665EF01F5B}"/>
              </a:ext>
            </a:extLst>
          </p:cNvPr>
          <p:cNvGrpSpPr/>
          <p:nvPr/>
        </p:nvGrpSpPr>
        <p:grpSpPr>
          <a:xfrm>
            <a:off x="9418221" y="1529307"/>
            <a:ext cx="1996308" cy="1901891"/>
            <a:chOff x="9422941" y="4012076"/>
            <a:chExt cx="1996308" cy="1901891"/>
          </a:xfrm>
        </p:grpSpPr>
        <p:grpSp>
          <p:nvGrpSpPr>
            <p:cNvPr id="434" name="Group 433">
              <a:extLst>
                <a:ext uri="{FF2B5EF4-FFF2-40B4-BE49-F238E27FC236}">
                  <a16:creationId xmlns:a16="http://schemas.microsoft.com/office/drawing/2014/main" id="{34966302-D2D6-4316-B99A-F196BFB76F3C}"/>
                </a:ext>
              </a:extLst>
            </p:cNvPr>
            <p:cNvGrpSpPr/>
            <p:nvPr/>
          </p:nvGrpSpPr>
          <p:grpSpPr>
            <a:xfrm>
              <a:off x="9422941" y="4012076"/>
              <a:ext cx="1996308" cy="169277"/>
              <a:chOff x="7032197" y="1898368"/>
              <a:chExt cx="3373582" cy="286063"/>
            </a:xfrm>
          </p:grpSpPr>
          <p:sp>
            <p:nvSpPr>
              <p:cNvPr id="442" name="Rectangle 3">
                <a:extLst>
                  <a:ext uri="{FF2B5EF4-FFF2-40B4-BE49-F238E27FC236}">
                    <a16:creationId xmlns:a16="http://schemas.microsoft.com/office/drawing/2014/main" id="{89A3E931-7046-426D-AAFE-E0AEDDA1DACC}"/>
                  </a:ext>
                </a:extLst>
              </p:cNvPr>
              <p:cNvSpPr/>
              <p:nvPr/>
            </p:nvSpPr>
            <p:spPr bwMode="auto">
              <a:xfrm>
                <a:off x="7032197" y="2037486"/>
                <a:ext cx="3373582" cy="101541"/>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443" name="TextBox 442">
                <a:extLst>
                  <a:ext uri="{FF2B5EF4-FFF2-40B4-BE49-F238E27FC236}">
                    <a16:creationId xmlns:a16="http://schemas.microsoft.com/office/drawing/2014/main" id="{937F9A8C-1802-45B6-B7BF-A4C900779A1D}"/>
                  </a:ext>
                </a:extLst>
              </p:cNvPr>
              <p:cNvSpPr txBox="1"/>
              <p:nvPr/>
            </p:nvSpPr>
            <p:spPr>
              <a:xfrm>
                <a:off x="7448991" y="1898368"/>
                <a:ext cx="2539993" cy="286063"/>
              </a:xfrm>
              <a:prstGeom prst="rect">
                <a:avLst/>
              </a:prstGeom>
              <a:solidFill>
                <a:schemeClr val="bg1"/>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Semibold"/>
                    <a:ea typeface="+mn-ea"/>
                    <a:cs typeface="+mn-cs"/>
                  </a:rPr>
                  <a:t>GENERAL PURPOSE</a:t>
                </a:r>
              </a:p>
            </p:txBody>
          </p:sp>
        </p:grpSp>
        <p:sp>
          <p:nvSpPr>
            <p:cNvPr id="435" name="Rectangle 3">
              <a:extLst>
                <a:ext uri="{FF2B5EF4-FFF2-40B4-BE49-F238E27FC236}">
                  <a16:creationId xmlns:a16="http://schemas.microsoft.com/office/drawing/2014/main" id="{7B01ED0E-A5C6-4C44-A38D-625D34737D12}"/>
                </a:ext>
              </a:extLst>
            </p:cNvPr>
            <p:cNvSpPr/>
            <p:nvPr/>
          </p:nvSpPr>
          <p:spPr bwMode="auto">
            <a:xfrm flipV="1">
              <a:off x="9422941" y="5853880"/>
              <a:ext cx="1996308" cy="60087"/>
            </a:xfrm>
            <a:custGeom>
              <a:avLst/>
              <a:gdLst>
                <a:gd name="connsiteX0" fmla="*/ 0 w 3373582"/>
                <a:gd name="connsiteY0" fmla="*/ 0 h 662651"/>
                <a:gd name="connsiteX1" fmla="*/ 3373582 w 3373582"/>
                <a:gd name="connsiteY1" fmla="*/ 0 h 662651"/>
                <a:gd name="connsiteX2" fmla="*/ 3373582 w 3373582"/>
                <a:gd name="connsiteY2" fmla="*/ 662651 h 662651"/>
                <a:gd name="connsiteX3" fmla="*/ 0 w 3373582"/>
                <a:gd name="connsiteY3" fmla="*/ 662651 h 662651"/>
                <a:gd name="connsiteX4" fmla="*/ 0 w 3373582"/>
                <a:gd name="connsiteY4" fmla="*/ 0 h 662651"/>
                <a:gd name="connsiteX0" fmla="*/ 0 w 3373582"/>
                <a:gd name="connsiteY0" fmla="*/ 0 h 662651"/>
                <a:gd name="connsiteX1" fmla="*/ 3373582 w 3373582"/>
                <a:gd name="connsiteY1" fmla="*/ 0 h 662651"/>
                <a:gd name="connsiteX2" fmla="*/ 3373582 w 3373582"/>
                <a:gd name="connsiteY2" fmla="*/ 662651 h 662651"/>
                <a:gd name="connsiteX3" fmla="*/ 1780309 w 3373582"/>
                <a:gd name="connsiteY3" fmla="*/ 662651 h 662651"/>
                <a:gd name="connsiteX4" fmla="*/ 0 w 3373582"/>
                <a:gd name="connsiteY4" fmla="*/ 662651 h 662651"/>
                <a:gd name="connsiteX5" fmla="*/ 0 w 3373582"/>
                <a:gd name="connsiteY5" fmla="*/ 0 h 662651"/>
                <a:gd name="connsiteX0" fmla="*/ 1780309 w 3373582"/>
                <a:gd name="connsiteY0" fmla="*/ 662651 h 754091"/>
                <a:gd name="connsiteX1" fmla="*/ 0 w 3373582"/>
                <a:gd name="connsiteY1" fmla="*/ 662651 h 754091"/>
                <a:gd name="connsiteX2" fmla="*/ 0 w 3373582"/>
                <a:gd name="connsiteY2" fmla="*/ 0 h 754091"/>
                <a:gd name="connsiteX3" fmla="*/ 3373582 w 3373582"/>
                <a:gd name="connsiteY3" fmla="*/ 0 h 754091"/>
                <a:gd name="connsiteX4" fmla="*/ 3373582 w 3373582"/>
                <a:gd name="connsiteY4" fmla="*/ 662651 h 754091"/>
                <a:gd name="connsiteX5" fmla="*/ 1871749 w 3373582"/>
                <a:gd name="connsiteY5" fmla="*/ 754091 h 754091"/>
                <a:gd name="connsiteX0" fmla="*/ 1780309 w 3373582"/>
                <a:gd name="connsiteY0" fmla="*/ 662651 h 662651"/>
                <a:gd name="connsiteX1" fmla="*/ 0 w 3373582"/>
                <a:gd name="connsiteY1" fmla="*/ 662651 h 662651"/>
                <a:gd name="connsiteX2" fmla="*/ 0 w 3373582"/>
                <a:gd name="connsiteY2" fmla="*/ 0 h 662651"/>
                <a:gd name="connsiteX3" fmla="*/ 3373582 w 3373582"/>
                <a:gd name="connsiteY3" fmla="*/ 0 h 662651"/>
                <a:gd name="connsiteX4" fmla="*/ 3373582 w 3373582"/>
                <a:gd name="connsiteY4" fmla="*/ 662651 h 662651"/>
                <a:gd name="connsiteX0" fmla="*/ 0 w 3373582"/>
                <a:gd name="connsiteY0" fmla="*/ 662651 h 662651"/>
                <a:gd name="connsiteX1" fmla="*/ 0 w 3373582"/>
                <a:gd name="connsiteY1" fmla="*/ 0 h 662651"/>
                <a:gd name="connsiteX2" fmla="*/ 3373582 w 3373582"/>
                <a:gd name="connsiteY2" fmla="*/ 0 h 662651"/>
                <a:gd name="connsiteX3" fmla="*/ 3373582 w 3373582"/>
                <a:gd name="connsiteY3" fmla="*/ 662651 h 662651"/>
              </a:gdLst>
              <a:ahLst/>
              <a:cxnLst>
                <a:cxn ang="0">
                  <a:pos x="connsiteX0" y="connsiteY0"/>
                </a:cxn>
                <a:cxn ang="0">
                  <a:pos x="connsiteX1" y="connsiteY1"/>
                </a:cxn>
                <a:cxn ang="0">
                  <a:pos x="connsiteX2" y="connsiteY2"/>
                </a:cxn>
                <a:cxn ang="0">
                  <a:pos x="connsiteX3" y="connsiteY3"/>
                </a:cxn>
              </a:cxnLst>
              <a:rect l="l" t="t" r="r" b="b"/>
              <a:pathLst>
                <a:path w="3373582" h="662651">
                  <a:moveTo>
                    <a:pt x="0" y="662651"/>
                  </a:moveTo>
                  <a:lnTo>
                    <a:pt x="0" y="0"/>
                  </a:lnTo>
                  <a:lnTo>
                    <a:pt x="3373582" y="0"/>
                  </a:lnTo>
                  <a:lnTo>
                    <a:pt x="3373582" y="662651"/>
                  </a:lnTo>
                </a:path>
              </a:pathLst>
            </a:custGeom>
            <a:noFill/>
            <a:ln w="6350">
              <a:gradFill flip="none" rotWithShape="1">
                <a:gsLst>
                  <a:gs pos="0">
                    <a:srgbClr val="0078D4"/>
                  </a:gs>
                  <a:gs pos="100000">
                    <a:srgbClr val="50E6FF"/>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12513887-8541-4389-B023-719A0B77B4D2}"/>
              </a:ext>
              <a:ext uri="{C183D7F6-B498-43B3-948B-1728B52AA6E4}">
                <adec:decorative xmlns:adec="http://schemas.microsoft.com/office/drawing/2017/decorative" xmlns="" val="1"/>
              </a:ext>
            </a:extLst>
          </p:cNvPr>
          <p:cNvGrpSpPr/>
          <p:nvPr/>
        </p:nvGrpSpPr>
        <p:grpSpPr>
          <a:xfrm>
            <a:off x="5884788" y="1898583"/>
            <a:ext cx="775545" cy="775545"/>
            <a:chOff x="5926352" y="1898583"/>
            <a:chExt cx="775545" cy="775545"/>
          </a:xfrm>
        </p:grpSpPr>
        <p:sp>
          <p:nvSpPr>
            <p:cNvPr id="22" name="Oval 21">
              <a:extLst>
                <a:ext uri="{FF2B5EF4-FFF2-40B4-BE49-F238E27FC236}">
                  <a16:creationId xmlns:a16="http://schemas.microsoft.com/office/drawing/2014/main" id="{DC38ABAB-2308-49F3-9CCC-C097379088E7}"/>
                </a:ext>
              </a:extLst>
            </p:cNvPr>
            <p:cNvSpPr/>
            <p:nvPr/>
          </p:nvSpPr>
          <p:spPr bwMode="auto">
            <a:xfrm>
              <a:off x="5926352"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45" name="Group 444">
              <a:extLst>
                <a:ext uri="{FF2B5EF4-FFF2-40B4-BE49-F238E27FC236}">
                  <a16:creationId xmlns:a16="http://schemas.microsoft.com/office/drawing/2014/main" id="{F724FF29-F27D-4A1F-9519-4AFA973AEE2F}"/>
                </a:ext>
              </a:extLst>
            </p:cNvPr>
            <p:cNvGrpSpPr>
              <a:grpSpLocks noChangeAspect="1"/>
            </p:cNvGrpSpPr>
            <p:nvPr/>
          </p:nvGrpSpPr>
          <p:grpSpPr>
            <a:xfrm>
              <a:off x="6145583" y="2116392"/>
              <a:ext cx="337081" cy="338059"/>
              <a:chOff x="969546" y="3473933"/>
              <a:chExt cx="1212600" cy="1216120"/>
            </a:xfrm>
          </p:grpSpPr>
          <p:sp>
            <p:nvSpPr>
              <p:cNvPr id="446" name="Rectangle 445">
                <a:extLst>
                  <a:ext uri="{FF2B5EF4-FFF2-40B4-BE49-F238E27FC236}">
                    <a16:creationId xmlns:a16="http://schemas.microsoft.com/office/drawing/2014/main" id="{DC45FD95-0BB3-4040-B9EC-10C346C22B6B}"/>
                  </a:ext>
                </a:extLst>
              </p:cNvPr>
              <p:cNvSpPr/>
              <p:nvPr/>
            </p:nvSpPr>
            <p:spPr bwMode="auto">
              <a:xfrm>
                <a:off x="1148987" y="3473933"/>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Rectangle 446">
                <a:extLst>
                  <a:ext uri="{FF2B5EF4-FFF2-40B4-BE49-F238E27FC236}">
                    <a16:creationId xmlns:a16="http://schemas.microsoft.com/office/drawing/2014/main" id="{6CCD319C-2653-4574-8D6A-753040206A53}"/>
                  </a:ext>
                </a:extLst>
              </p:cNvPr>
              <p:cNvSpPr/>
              <p:nvPr/>
            </p:nvSpPr>
            <p:spPr bwMode="auto">
              <a:xfrm>
                <a:off x="1148987"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8" name="Rectangle 447">
                <a:extLst>
                  <a:ext uri="{FF2B5EF4-FFF2-40B4-BE49-F238E27FC236}">
                    <a16:creationId xmlns:a16="http://schemas.microsoft.com/office/drawing/2014/main" id="{33107AD7-A748-45BB-9062-6F2C22380D72}"/>
                  </a:ext>
                </a:extLst>
              </p:cNvPr>
              <p:cNvSpPr/>
              <p:nvPr/>
            </p:nvSpPr>
            <p:spPr bwMode="auto">
              <a:xfrm>
                <a:off x="971772" y="3661052"/>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9" name="Rectangle 448">
                <a:extLst>
                  <a:ext uri="{FF2B5EF4-FFF2-40B4-BE49-F238E27FC236}">
                    <a16:creationId xmlns:a16="http://schemas.microsoft.com/office/drawing/2014/main" id="{AF116CEF-4AB5-46BE-B2FD-52D4ACD5F5B9}"/>
                  </a:ext>
                </a:extLst>
              </p:cNvPr>
              <p:cNvSpPr/>
              <p:nvPr/>
            </p:nvSpPr>
            <p:spPr bwMode="auto">
              <a:xfrm>
                <a:off x="971772" y="3839408"/>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0" name="Oval 449">
                <a:extLst>
                  <a:ext uri="{FF2B5EF4-FFF2-40B4-BE49-F238E27FC236}">
                    <a16:creationId xmlns:a16="http://schemas.microsoft.com/office/drawing/2014/main" id="{96937085-E122-4F47-8463-B53BB2F8280E}"/>
                  </a:ext>
                </a:extLst>
              </p:cNvPr>
              <p:cNvSpPr/>
              <p:nvPr/>
            </p:nvSpPr>
            <p:spPr bwMode="auto">
              <a:xfrm>
                <a:off x="969546" y="3473933"/>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03A851A3-1AAF-432E-95E3-3DC02DA99ED2}"/>
                  </a:ext>
                </a:extLst>
              </p:cNvPr>
              <p:cNvSpPr/>
              <p:nvPr/>
            </p:nvSpPr>
            <p:spPr bwMode="auto">
              <a:xfrm>
                <a:off x="114819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FB1D2575-A3C5-4A46-A3F3-749DE2A9B06B}"/>
                  </a:ext>
                </a:extLst>
              </p:cNvPr>
              <p:cNvSpPr/>
              <p:nvPr/>
            </p:nvSpPr>
            <p:spPr bwMode="auto">
              <a:xfrm>
                <a:off x="1516008"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3" name="Oval 452">
                <a:extLst>
                  <a:ext uri="{FF2B5EF4-FFF2-40B4-BE49-F238E27FC236}">
                    <a16:creationId xmlns:a16="http://schemas.microsoft.com/office/drawing/2014/main" id="{AB12F281-A0CB-47C9-9597-4F51FC9B99B1}"/>
                  </a:ext>
                </a:extLst>
              </p:cNvPr>
              <p:cNvSpPr/>
              <p:nvPr/>
            </p:nvSpPr>
            <p:spPr bwMode="auto">
              <a:xfrm>
                <a:off x="169051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4" name="Oval 453">
                <a:extLst>
                  <a:ext uri="{FF2B5EF4-FFF2-40B4-BE49-F238E27FC236}">
                    <a16:creationId xmlns:a16="http://schemas.microsoft.com/office/drawing/2014/main" id="{A0FD57EA-688C-4A0B-A30C-8FA7D16B78D9}"/>
                  </a:ext>
                </a:extLst>
              </p:cNvPr>
              <p:cNvSpPr/>
              <p:nvPr/>
            </p:nvSpPr>
            <p:spPr bwMode="auto">
              <a:xfrm>
                <a:off x="1864006" y="3839055"/>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5" name="Oval 454">
                <a:extLst>
                  <a:ext uri="{FF2B5EF4-FFF2-40B4-BE49-F238E27FC236}">
                    <a16:creationId xmlns:a16="http://schemas.microsoft.com/office/drawing/2014/main" id="{2A7BD193-068F-4ADA-B012-EA2FA7330768}"/>
                  </a:ext>
                </a:extLst>
              </p:cNvPr>
              <p:cNvSpPr/>
              <p:nvPr/>
            </p:nvSpPr>
            <p:spPr bwMode="auto">
              <a:xfrm>
                <a:off x="1690516" y="3652790"/>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DCEDB5E3-2A3A-4F34-BC5A-2425B9EE700B}"/>
                  </a:ext>
                </a:extLst>
              </p:cNvPr>
              <p:cNvSpPr/>
              <p:nvPr/>
            </p:nvSpPr>
            <p:spPr bwMode="auto">
              <a:xfrm>
                <a:off x="1690516" y="4018987"/>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7" name="Rectangle 456">
                <a:extLst>
                  <a:ext uri="{FF2B5EF4-FFF2-40B4-BE49-F238E27FC236}">
                    <a16:creationId xmlns:a16="http://schemas.microsoft.com/office/drawing/2014/main" id="{3A1B2B22-951B-4FF0-B1BB-F7DD6FBD0144}"/>
                  </a:ext>
                </a:extLst>
              </p:cNvPr>
              <p:cNvSpPr/>
              <p:nvPr/>
            </p:nvSpPr>
            <p:spPr bwMode="auto">
              <a:xfrm>
                <a:off x="971772" y="4193389"/>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8" name="Rectangle 457">
                <a:extLst>
                  <a:ext uri="{FF2B5EF4-FFF2-40B4-BE49-F238E27FC236}">
                    <a16:creationId xmlns:a16="http://schemas.microsoft.com/office/drawing/2014/main" id="{2F053055-7B95-439C-AB8B-14F4D7BFE5C7}"/>
                  </a:ext>
                </a:extLst>
              </p:cNvPr>
              <p:cNvSpPr/>
              <p:nvPr/>
            </p:nvSpPr>
            <p:spPr bwMode="auto">
              <a:xfrm>
                <a:off x="1148987" y="4375185"/>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a:extLst>
                  <a:ext uri="{FF2B5EF4-FFF2-40B4-BE49-F238E27FC236}">
                    <a16:creationId xmlns:a16="http://schemas.microsoft.com/office/drawing/2014/main" id="{1CCF6FBD-9DF4-42E7-816B-028C62524F2C}"/>
                  </a:ext>
                </a:extLst>
              </p:cNvPr>
              <p:cNvSpPr/>
              <p:nvPr/>
            </p:nvSpPr>
            <p:spPr bwMode="auto">
              <a:xfrm>
                <a:off x="1148987"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Rectangle 459">
                <a:extLst>
                  <a:ext uri="{FF2B5EF4-FFF2-40B4-BE49-F238E27FC236}">
                    <a16:creationId xmlns:a16="http://schemas.microsoft.com/office/drawing/2014/main" id="{84696DBD-303F-44EC-9CBB-DFC897AE6983}"/>
                  </a:ext>
                </a:extLst>
              </p:cNvPr>
              <p:cNvSpPr/>
              <p:nvPr/>
            </p:nvSpPr>
            <p:spPr bwMode="auto">
              <a:xfrm>
                <a:off x="1508587"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Rectangle 460">
                <a:extLst>
                  <a:ext uri="{FF2B5EF4-FFF2-40B4-BE49-F238E27FC236}">
                    <a16:creationId xmlns:a16="http://schemas.microsoft.com/office/drawing/2014/main" id="{ED0D1265-B025-4455-A61E-754E007E9453}"/>
                  </a:ext>
                </a:extLst>
              </p:cNvPr>
              <p:cNvSpPr/>
              <p:nvPr/>
            </p:nvSpPr>
            <p:spPr bwMode="auto">
              <a:xfrm>
                <a:off x="1878081" y="4384300"/>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a:extLst>
                  <a:ext uri="{FF2B5EF4-FFF2-40B4-BE49-F238E27FC236}">
                    <a16:creationId xmlns:a16="http://schemas.microsoft.com/office/drawing/2014/main" id="{AC67DF3B-554D-4EDD-973F-FAF3623C56F4}"/>
                  </a:ext>
                </a:extLst>
              </p:cNvPr>
              <p:cNvSpPr/>
              <p:nvPr/>
            </p:nvSpPr>
            <p:spPr bwMode="auto">
              <a:xfrm>
                <a:off x="1677405" y="4562304"/>
                <a:ext cx="127146" cy="127749"/>
              </a:xfrm>
              <a:prstGeom prst="rect">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Oval 462">
                <a:extLst>
                  <a:ext uri="{FF2B5EF4-FFF2-40B4-BE49-F238E27FC236}">
                    <a16:creationId xmlns:a16="http://schemas.microsoft.com/office/drawing/2014/main" id="{03024A67-488C-40A6-8401-12B3216A913E}"/>
                  </a:ext>
                </a:extLst>
              </p:cNvPr>
              <p:cNvSpPr/>
              <p:nvPr/>
            </p:nvSpPr>
            <p:spPr bwMode="auto">
              <a:xfrm>
                <a:off x="1328668"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a:extLst>
                  <a:ext uri="{FF2B5EF4-FFF2-40B4-BE49-F238E27FC236}">
                    <a16:creationId xmlns:a16="http://schemas.microsoft.com/office/drawing/2014/main" id="{7F537805-F526-4929-9614-8C246B1C1A05}"/>
                  </a:ext>
                </a:extLst>
              </p:cNvPr>
              <p:cNvSpPr/>
              <p:nvPr/>
            </p:nvSpPr>
            <p:spPr bwMode="auto">
              <a:xfrm>
                <a:off x="2053603" y="4562304"/>
                <a:ext cx="127146" cy="127749"/>
              </a:xfrm>
              <a:prstGeom prst="ellipse">
                <a:avLst/>
              </a:prstGeom>
              <a:solidFill>
                <a:srgbClr val="4C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Freeform: Shape 464">
                <a:extLst>
                  <a:ext uri="{FF2B5EF4-FFF2-40B4-BE49-F238E27FC236}">
                    <a16:creationId xmlns:a16="http://schemas.microsoft.com/office/drawing/2014/main" id="{50452A4C-201F-458F-8361-1A086CD5DA01}"/>
                  </a:ext>
                </a:extLst>
              </p:cNvPr>
              <p:cNvSpPr/>
              <p:nvPr/>
            </p:nvSpPr>
            <p:spPr bwMode="auto">
              <a:xfrm rot="5400000">
                <a:off x="132277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4574061B-D409-4D3F-971E-FBBA3E5B7EDB}"/>
                  </a:ext>
                </a:extLst>
              </p:cNvPr>
              <p:cNvSpPr/>
              <p:nvPr/>
            </p:nvSpPr>
            <p:spPr bwMode="auto">
              <a:xfrm rot="16200000" flipH="1">
                <a:off x="1871347" y="4018987"/>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Freeform: Shape 466">
                <a:extLst>
                  <a:ext uri="{FF2B5EF4-FFF2-40B4-BE49-F238E27FC236}">
                    <a16:creationId xmlns:a16="http://schemas.microsoft.com/office/drawing/2014/main" id="{8C478731-383D-4F8F-8FB7-75D8960FFC22}"/>
                  </a:ext>
                </a:extLst>
              </p:cNvPr>
              <p:cNvSpPr/>
              <p:nvPr/>
            </p:nvSpPr>
            <p:spPr bwMode="auto">
              <a:xfrm rot="16200000" flipV="1">
                <a:off x="132277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Freeform: Shape 467">
                <a:extLst>
                  <a:ext uri="{FF2B5EF4-FFF2-40B4-BE49-F238E27FC236}">
                    <a16:creationId xmlns:a16="http://schemas.microsoft.com/office/drawing/2014/main" id="{6A94809F-56BE-4F93-B238-6B7345ECE11B}"/>
                  </a:ext>
                </a:extLst>
              </p:cNvPr>
              <p:cNvSpPr/>
              <p:nvPr/>
            </p:nvSpPr>
            <p:spPr bwMode="auto">
              <a:xfrm rot="5400000" flipH="1" flipV="1">
                <a:off x="1871347" y="3473933"/>
                <a:ext cx="310799" cy="310799"/>
              </a:xfrm>
              <a:custGeom>
                <a:avLst/>
                <a:gdLst>
                  <a:gd name="connsiteX0" fmla="*/ 0 w 310799"/>
                  <a:gd name="connsiteY0" fmla="*/ 310799 h 310799"/>
                  <a:gd name="connsiteX1" fmla="*/ 0 w 310799"/>
                  <a:gd name="connsiteY1" fmla="*/ 181012 h 310799"/>
                  <a:gd name="connsiteX2" fmla="*/ 181012 w 310799"/>
                  <a:gd name="connsiteY2" fmla="*/ 181012 h 310799"/>
                  <a:gd name="connsiteX3" fmla="*/ 181012 w 310799"/>
                  <a:gd name="connsiteY3" fmla="*/ 0 h 310799"/>
                  <a:gd name="connsiteX4" fmla="*/ 310799 w 310799"/>
                  <a:gd name="connsiteY4" fmla="*/ 0 h 310799"/>
                  <a:gd name="connsiteX5" fmla="*/ 310799 w 310799"/>
                  <a:gd name="connsiteY5" fmla="*/ 181012 h 310799"/>
                  <a:gd name="connsiteX6" fmla="*/ 310799 w 310799"/>
                  <a:gd name="connsiteY6" fmla="*/ 310799 h 310799"/>
                  <a:gd name="connsiteX7" fmla="*/ 181012 w 310799"/>
                  <a:gd name="connsiteY7" fmla="*/ 310799 h 3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99" h="310799">
                    <a:moveTo>
                      <a:pt x="0" y="310799"/>
                    </a:moveTo>
                    <a:lnTo>
                      <a:pt x="0" y="181012"/>
                    </a:lnTo>
                    <a:lnTo>
                      <a:pt x="181012" y="181012"/>
                    </a:lnTo>
                    <a:lnTo>
                      <a:pt x="181012" y="0"/>
                    </a:lnTo>
                    <a:lnTo>
                      <a:pt x="310799" y="0"/>
                    </a:lnTo>
                    <a:lnTo>
                      <a:pt x="310799" y="181012"/>
                    </a:lnTo>
                    <a:lnTo>
                      <a:pt x="310799" y="310799"/>
                    </a:lnTo>
                    <a:lnTo>
                      <a:pt x="181012" y="31079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6" name="Group 45">
            <a:extLst>
              <a:ext uri="{FF2B5EF4-FFF2-40B4-BE49-F238E27FC236}">
                <a16:creationId xmlns:a16="http://schemas.microsoft.com/office/drawing/2014/main" id="{CAC5B24B-2360-4783-9090-C4C9A0926ED8}"/>
              </a:ext>
              <a:ext uri="{C183D7F6-B498-43B3-948B-1728B52AA6E4}">
                <adec:decorative xmlns:adec="http://schemas.microsoft.com/office/drawing/2017/decorative" xmlns="" val="1"/>
              </a:ext>
            </a:extLst>
          </p:cNvPr>
          <p:cNvGrpSpPr/>
          <p:nvPr/>
        </p:nvGrpSpPr>
        <p:grpSpPr>
          <a:xfrm>
            <a:off x="4282250" y="1898583"/>
            <a:ext cx="775545" cy="775545"/>
            <a:chOff x="4323814" y="1898583"/>
            <a:chExt cx="775545" cy="775545"/>
          </a:xfrm>
        </p:grpSpPr>
        <p:sp>
          <p:nvSpPr>
            <p:cNvPr id="61" name="Oval 60">
              <a:extLst>
                <a:ext uri="{FF2B5EF4-FFF2-40B4-BE49-F238E27FC236}">
                  <a16:creationId xmlns:a16="http://schemas.microsoft.com/office/drawing/2014/main" id="{E94D4F3C-2B43-40BE-ABEB-2FDCEA67C751}"/>
                </a:ext>
              </a:extLst>
            </p:cNvPr>
            <p:cNvSpPr/>
            <p:nvPr/>
          </p:nvSpPr>
          <p:spPr bwMode="auto">
            <a:xfrm>
              <a:off x="4323814" y="1898583"/>
              <a:ext cx="775545" cy="775545"/>
            </a:xfrm>
            <a:prstGeom prst="ellipse">
              <a:avLst/>
            </a:prstGeom>
            <a:solidFill>
              <a:schemeClr val="bg1"/>
            </a:solidFill>
            <a:ln w="158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469" name="Group 468" descr="server">
              <a:extLst>
                <a:ext uri="{FF2B5EF4-FFF2-40B4-BE49-F238E27FC236}">
                  <a16:creationId xmlns:a16="http://schemas.microsoft.com/office/drawing/2014/main" id="{CD884DA5-0FFC-4081-A9B0-6A3516E92520}"/>
                </a:ext>
              </a:extLst>
            </p:cNvPr>
            <p:cNvGrpSpPr/>
            <p:nvPr/>
          </p:nvGrpSpPr>
          <p:grpSpPr>
            <a:xfrm>
              <a:off x="4580697" y="2060617"/>
              <a:ext cx="261778" cy="451476"/>
              <a:chOff x="789783" y="2138184"/>
              <a:chExt cx="261778" cy="451476"/>
            </a:xfrm>
          </p:grpSpPr>
          <p:sp>
            <p:nvSpPr>
              <p:cNvPr id="470" name="Rectangle 469">
                <a:extLst>
                  <a:ext uri="{FF2B5EF4-FFF2-40B4-BE49-F238E27FC236}">
                    <a16:creationId xmlns:a16="http://schemas.microsoft.com/office/drawing/2014/main" id="{A57BCD3D-E327-48BD-B664-AD9A871B0D78}"/>
                  </a:ext>
                </a:extLst>
              </p:cNvPr>
              <p:cNvSpPr/>
              <p:nvPr/>
            </p:nvSpPr>
            <p:spPr bwMode="auto">
              <a:xfrm>
                <a:off x="789783" y="2138184"/>
                <a:ext cx="261778" cy="451476"/>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a:extLst>
                  <a:ext uri="{FF2B5EF4-FFF2-40B4-BE49-F238E27FC236}">
                    <a16:creationId xmlns:a16="http://schemas.microsoft.com/office/drawing/2014/main" id="{4B7E1D1F-1AED-4CF2-B725-81FD28146097}"/>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Rectangle 471">
                <a:extLst>
                  <a:ext uri="{FF2B5EF4-FFF2-40B4-BE49-F238E27FC236}">
                    <a16:creationId xmlns:a16="http://schemas.microsoft.com/office/drawing/2014/main" id="{74D77D44-6E5F-481D-9829-A3FCAEA757E8}"/>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Rectangle 472">
                <a:extLst>
                  <a:ext uri="{FF2B5EF4-FFF2-40B4-BE49-F238E27FC236}">
                    <a16:creationId xmlns:a16="http://schemas.microsoft.com/office/drawing/2014/main" id="{B6AD6D46-C872-482C-B9F7-54D56F90BF39}"/>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TextBox 2">
            <a:extLst>
              <a:ext uri="{FF2B5EF4-FFF2-40B4-BE49-F238E27FC236}">
                <a16:creationId xmlns:a16="http://schemas.microsoft.com/office/drawing/2014/main" id="{C1EA88C0-CF52-40C0-9D6E-5C46CE23920C}"/>
              </a:ext>
            </a:extLst>
          </p:cNvPr>
          <p:cNvSpPr txBox="1"/>
          <p:nvPr/>
        </p:nvSpPr>
        <p:spPr>
          <a:xfrm>
            <a:off x="9418221" y="1917341"/>
            <a:ext cx="1996308" cy="11387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Windows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QL Server</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inux </a:t>
            </a:r>
          </a:p>
        </p:txBody>
      </p:sp>
      <p:sp>
        <p:nvSpPr>
          <p:cNvPr id="6" name="TextBox 5">
            <a:extLst>
              <a:ext uri="{FF2B5EF4-FFF2-40B4-BE49-F238E27FC236}">
                <a16:creationId xmlns:a16="http://schemas.microsoft.com/office/drawing/2014/main" id="{9AD340D5-CF6C-4CAB-B37E-F3F39647EF66}"/>
              </a:ext>
            </a:extLst>
          </p:cNvPr>
          <p:cNvSpPr txBox="1"/>
          <p:nvPr/>
        </p:nvSpPr>
        <p:spPr>
          <a:xfrm>
            <a:off x="9995313" y="3969170"/>
            <a:ext cx="868027"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VMware</a:t>
            </a:r>
          </a:p>
        </p:txBody>
      </p:sp>
      <p:sp>
        <p:nvSpPr>
          <p:cNvPr id="8" name="TextBox 7">
            <a:extLst>
              <a:ext uri="{FF2B5EF4-FFF2-40B4-BE49-F238E27FC236}">
                <a16:creationId xmlns:a16="http://schemas.microsoft.com/office/drawing/2014/main" id="{4351554E-15D5-4E7A-A5BD-CA2C8D9FF696}"/>
              </a:ext>
            </a:extLst>
          </p:cNvPr>
          <p:cNvSpPr txBox="1"/>
          <p:nvPr/>
        </p:nvSpPr>
        <p:spPr>
          <a:xfrm>
            <a:off x="10203783" y="4392430"/>
            <a:ext cx="451086"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SAP</a:t>
            </a:r>
          </a:p>
        </p:txBody>
      </p:sp>
      <p:sp>
        <p:nvSpPr>
          <p:cNvPr id="10" name="TextBox 9">
            <a:extLst>
              <a:ext uri="{FF2B5EF4-FFF2-40B4-BE49-F238E27FC236}">
                <a16:creationId xmlns:a16="http://schemas.microsoft.com/office/drawing/2014/main" id="{B61CF990-C67A-44CF-9645-A499C0D369B5}"/>
              </a:ext>
            </a:extLst>
          </p:cNvPr>
          <p:cNvSpPr txBox="1"/>
          <p:nvPr/>
        </p:nvSpPr>
        <p:spPr>
          <a:xfrm>
            <a:off x="10203783" y="4780526"/>
            <a:ext cx="451086"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Cray</a:t>
            </a:r>
          </a:p>
        </p:txBody>
      </p:sp>
      <p:sp>
        <p:nvSpPr>
          <p:cNvPr id="11" name="TextBox 10">
            <a:extLst>
              <a:ext uri="{FF2B5EF4-FFF2-40B4-BE49-F238E27FC236}">
                <a16:creationId xmlns:a16="http://schemas.microsoft.com/office/drawing/2014/main" id="{35E07DE8-FD49-485C-8657-F5676004EE68}"/>
              </a:ext>
            </a:extLst>
          </p:cNvPr>
          <p:cNvSpPr txBox="1"/>
          <p:nvPr/>
        </p:nvSpPr>
        <p:spPr>
          <a:xfrm>
            <a:off x="9981626" y="5221446"/>
            <a:ext cx="895400" cy="276999"/>
          </a:xfrm>
          <a:prstGeom prst="rect">
            <a:avLst/>
          </a:prstGeom>
          <a:noFill/>
        </p:spPr>
        <p:txBody>
          <a:bodyPr wrap="square" lIns="0" tIns="0" rIns="0" bIns="0" rtlCol="0">
            <a:spAutoFit/>
          </a:bodyPr>
          <a:lstStyle/>
          <a:p>
            <a:pPr algn="l"/>
            <a:r>
              <a:rPr lang="en-US" dirty="0">
                <a:gradFill>
                  <a:gsLst>
                    <a:gs pos="2917">
                      <a:schemeClr val="tx1"/>
                    </a:gs>
                    <a:gs pos="30000">
                      <a:schemeClr val="tx1"/>
                    </a:gs>
                  </a:gsLst>
                  <a:lin ang="5400000" scaled="0"/>
                </a:gradFill>
              </a:rPr>
              <a:t>NetApp</a:t>
            </a:r>
          </a:p>
        </p:txBody>
      </p:sp>
    </p:spTree>
    <p:extLst>
      <p:ext uri="{BB962C8B-B14F-4D97-AF65-F5344CB8AC3E}">
        <p14:creationId xmlns:p14="http://schemas.microsoft.com/office/powerpoint/2010/main" val="27211628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cxnSp>
        <p:nvCxnSpPr>
          <p:cNvPr id="118" name="Straight Connector 117">
            <a:extLst>
              <a:ext uri="{FF2B5EF4-FFF2-40B4-BE49-F238E27FC236}">
                <a16:creationId xmlns:a16="http://schemas.microsoft.com/office/drawing/2014/main" id="{C1811B82-D30A-4F51-BDA1-B09466E09DAB}"/>
              </a:ext>
              <a:ext uri="{C183D7F6-B498-43B3-948B-1728B52AA6E4}">
                <adec:decorative xmlns:adec="http://schemas.microsoft.com/office/drawing/2017/decorative" xmlns="" val="1"/>
              </a:ext>
            </a:extLst>
          </p:cNvPr>
          <p:cNvCxnSpPr>
            <a:cxnSpLocks/>
          </p:cNvCxnSpPr>
          <p:nvPr/>
        </p:nvCxnSpPr>
        <p:spPr>
          <a:xfrm flipV="1">
            <a:off x="600625" y="2948023"/>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3AD6632-FFA9-4878-9876-459AC89FDA8D}"/>
              </a:ext>
              <a:ext uri="{C183D7F6-B498-43B3-948B-1728B52AA6E4}">
                <adec:decorative xmlns:adec="http://schemas.microsoft.com/office/drawing/2017/decorative" xmlns="" val="1"/>
              </a:ext>
            </a:extLst>
          </p:cNvPr>
          <p:cNvCxnSpPr>
            <a:cxnSpLocks/>
          </p:cNvCxnSpPr>
          <p:nvPr/>
        </p:nvCxnSpPr>
        <p:spPr>
          <a:xfrm>
            <a:off x="604877" y="403347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9DFD42D-DAF0-47AE-8B7B-59319DB6ED7E}"/>
              </a:ext>
              <a:ext uri="{C183D7F6-B498-43B3-948B-1728B52AA6E4}">
                <adec:decorative xmlns:adec="http://schemas.microsoft.com/office/drawing/2017/decorative" xmlns="" val="1"/>
              </a:ext>
            </a:extLst>
          </p:cNvPr>
          <p:cNvCxnSpPr>
            <a:cxnSpLocks/>
          </p:cNvCxnSpPr>
          <p:nvPr/>
        </p:nvCxnSpPr>
        <p:spPr>
          <a:xfrm>
            <a:off x="596373" y="5690034"/>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BF0D755-9E76-454E-B7F6-A7F89EF5CA2E}"/>
              </a:ext>
              <a:ext uri="{C183D7F6-B498-43B3-948B-1728B52AA6E4}">
                <adec:decorative xmlns:adec="http://schemas.microsoft.com/office/drawing/2017/decorative" xmlns="" val="1"/>
              </a:ext>
            </a:extLst>
          </p:cNvPr>
          <p:cNvCxnSpPr>
            <a:cxnSpLocks/>
          </p:cNvCxnSpPr>
          <p:nvPr/>
        </p:nvCxnSpPr>
        <p:spPr>
          <a:xfrm>
            <a:off x="600625" y="4661668"/>
            <a:ext cx="5059879"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itle 1">
            <a:extLst>
              <a:ext uri="{FF2B5EF4-FFF2-40B4-BE49-F238E27FC236}">
                <a16:creationId xmlns:a16="http://schemas.microsoft.com/office/drawing/2014/main" id="{C773C9FC-0ADC-47D8-A200-1FEDDF358297}"/>
              </a:ext>
            </a:extLst>
          </p:cNvPr>
          <p:cNvSpPr>
            <a:spLocks noGrp="1"/>
          </p:cNvSpPr>
          <p:nvPr>
            <p:ph type="title"/>
          </p:nvPr>
        </p:nvSpPr>
        <p:spPr/>
        <p:txBody>
          <a:bodyPr/>
          <a:lstStyle/>
          <a:p>
            <a:pPr>
              <a:buClr>
                <a:schemeClr val="dk1"/>
              </a:buClr>
              <a:buSzPts val="1800"/>
            </a:pPr>
            <a:r>
              <a:rPr lang="en-US" spc="0" dirty="0">
                <a:ln>
                  <a:noFill/>
                </a:ln>
                <a:solidFill>
                  <a:srgbClr val="50E6FF"/>
                </a:solidFill>
                <a:latin typeface="Segoe UI Semibold"/>
                <a:ea typeface="+mj-ea"/>
                <a:cs typeface="+mj-cs"/>
              </a:rPr>
              <a:t>Linux and open source databases offerings on Azure</a:t>
            </a:r>
          </a:p>
        </p:txBody>
      </p:sp>
      <p:sp>
        <p:nvSpPr>
          <p:cNvPr id="5" name="Text Placeholder 4">
            <a:extLst>
              <a:ext uri="{FF2B5EF4-FFF2-40B4-BE49-F238E27FC236}">
                <a16:creationId xmlns:a16="http://schemas.microsoft.com/office/drawing/2014/main" id="{C94A09B8-DA35-4C87-82A2-5967B84B1E63}"/>
              </a:ext>
            </a:extLst>
          </p:cNvPr>
          <p:cNvSpPr>
            <a:spLocks noGrp="1"/>
          </p:cNvSpPr>
          <p:nvPr>
            <p:ph type="body" sz="quarter" idx="4294967295"/>
          </p:nvPr>
        </p:nvSpPr>
        <p:spPr>
          <a:xfrm>
            <a:off x="579558" y="1766888"/>
            <a:ext cx="2605088" cy="4884414"/>
          </a:xfrm>
        </p:spPr>
        <p:txBody>
          <a:bodyPr/>
          <a:lstStyle/>
          <a:p>
            <a:pPr lvl="0"/>
            <a:r>
              <a:rPr lang="en-US" sz="1400" dirty="0"/>
              <a:t>Integrated support</a:t>
            </a:r>
          </a:p>
          <a:p>
            <a:pPr lvl="0"/>
            <a:r>
              <a:rPr lang="en-US" sz="1400" dirty="0"/>
              <a:t>Azure Red Hat OpenShift</a:t>
            </a:r>
          </a:p>
          <a:p>
            <a:pPr lvl="0"/>
            <a:r>
              <a:rPr lang="en-US" sz="1400" dirty="0"/>
              <a:t>Ansible integration</a:t>
            </a:r>
          </a:p>
          <a:p>
            <a:pPr lvl="0"/>
            <a:r>
              <a:rPr lang="en-US" sz="1400" dirty="0"/>
              <a:t>JBoss integration</a:t>
            </a:r>
          </a:p>
          <a:p>
            <a:endParaRPr lang="en-US" sz="500" dirty="0"/>
          </a:p>
          <a:p>
            <a:endParaRPr lang="en-US" sz="1400" dirty="0"/>
          </a:p>
          <a:p>
            <a:r>
              <a:rPr lang="en-US" sz="1400" dirty="0"/>
              <a:t>Integrated support</a:t>
            </a:r>
          </a:p>
          <a:p>
            <a:r>
              <a:rPr lang="en-US" sz="1400" dirty="0"/>
              <a:t>Azure Tuned Kernel</a:t>
            </a:r>
          </a:p>
          <a:p>
            <a:r>
              <a:rPr lang="en-US" sz="1400" dirty="0"/>
              <a:t>SAP integration</a:t>
            </a:r>
          </a:p>
          <a:p>
            <a:pPr lvl="0"/>
            <a:endParaRPr lang="en-US" sz="500" dirty="0"/>
          </a:p>
          <a:p>
            <a:endParaRPr lang="en-US" sz="500" dirty="0"/>
          </a:p>
          <a:p>
            <a:pPr>
              <a:spcBef>
                <a:spcPts val="1500"/>
              </a:spcBef>
            </a:pPr>
            <a:r>
              <a:rPr lang="en-US" sz="1400" dirty="0"/>
              <a:t>Azure Tuned Kernel</a:t>
            </a:r>
          </a:p>
          <a:p>
            <a:pPr lvl="0"/>
            <a:endParaRPr lang="en-US" sz="1400" dirty="0"/>
          </a:p>
          <a:p>
            <a:pPr lvl="0"/>
            <a:endParaRPr lang="en-US" sz="1400" dirty="0"/>
          </a:p>
          <a:p>
            <a:r>
              <a:rPr lang="en-US" sz="1400" dirty="0"/>
              <a:t>Fully supported on Azure</a:t>
            </a:r>
          </a:p>
          <a:p>
            <a:endParaRPr lang="en-US" sz="1400" dirty="0"/>
          </a:p>
          <a:p>
            <a:pPr marL="0" indent="0">
              <a:buNone/>
            </a:pPr>
            <a:endParaRPr lang="en-US" sz="1400" dirty="0"/>
          </a:p>
          <a:p>
            <a:pPr>
              <a:spcBef>
                <a:spcPts val="1500"/>
              </a:spcBef>
            </a:pPr>
            <a:r>
              <a:rPr lang="en-US" sz="1400" dirty="0"/>
              <a:t>Fully managed container service</a:t>
            </a:r>
          </a:p>
          <a:p>
            <a:pPr lvl="0"/>
            <a:endParaRPr lang="en-US" sz="1400" dirty="0"/>
          </a:p>
        </p:txBody>
      </p:sp>
      <p:sp>
        <p:nvSpPr>
          <p:cNvPr id="60" name="Title 1">
            <a:extLst>
              <a:ext uri="{FF2B5EF4-FFF2-40B4-BE49-F238E27FC236}">
                <a16:creationId xmlns:a16="http://schemas.microsoft.com/office/drawing/2014/main" id="{ECF468A8-5982-4618-802D-FC8ACAC8A88F}"/>
              </a:ext>
            </a:extLst>
          </p:cNvPr>
          <p:cNvSpPr txBox="1">
            <a:spLocks/>
          </p:cNvSpPr>
          <p:nvPr/>
        </p:nvSpPr>
        <p:spPr>
          <a:xfrm>
            <a:off x="579558" y="1285121"/>
            <a:ext cx="5289795" cy="307777"/>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Linux and containers</a:t>
            </a:r>
          </a:p>
        </p:txBody>
      </p:sp>
      <p:sp>
        <p:nvSpPr>
          <p:cNvPr id="3" name="Title 1">
            <a:extLst>
              <a:ext uri="{FF2B5EF4-FFF2-40B4-BE49-F238E27FC236}">
                <a16:creationId xmlns:a16="http://schemas.microsoft.com/office/drawing/2014/main" id="{8A1F276B-BEF3-45F6-962A-7FFCD342C9CF}"/>
              </a:ext>
            </a:extLst>
          </p:cNvPr>
          <p:cNvSpPr txBox="1">
            <a:spLocks/>
          </p:cNvSpPr>
          <p:nvPr/>
        </p:nvSpPr>
        <p:spPr>
          <a:xfrm>
            <a:off x="6458015" y="1285121"/>
            <a:ext cx="4452653" cy="615553"/>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buClr>
                <a:schemeClr val="dk1"/>
              </a:buClr>
              <a:buSzPts val="1800"/>
            </a:pPr>
            <a:r>
              <a:rPr lang="en-US" sz="2000">
                <a:solidFill>
                  <a:schemeClr val="accent1"/>
                </a:solidFill>
                <a:ea typeface="+mj-ea"/>
                <a:cs typeface="Calibri Light" panose="020F0302020204030204" pitchFamily="34" charset="0"/>
              </a:rPr>
              <a:t>Unique Azure offerings for SQL Server and open source databases</a:t>
            </a:r>
          </a:p>
        </p:txBody>
      </p:sp>
      <p:sp>
        <p:nvSpPr>
          <p:cNvPr id="39" name="Text Placeholder 4">
            <a:extLst>
              <a:ext uri="{FF2B5EF4-FFF2-40B4-BE49-F238E27FC236}">
                <a16:creationId xmlns:a16="http://schemas.microsoft.com/office/drawing/2014/main" id="{7B9400B3-C143-4C68-AB8A-3B7EA100308B}"/>
              </a:ext>
            </a:extLst>
          </p:cNvPr>
          <p:cNvSpPr txBox="1">
            <a:spLocks/>
          </p:cNvSpPr>
          <p:nvPr/>
        </p:nvSpPr>
        <p:spPr>
          <a:xfrm>
            <a:off x="6460781" y="2092515"/>
            <a:ext cx="2464421" cy="45833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kern="1200" spc="0" baseline="0">
                <a:solidFill>
                  <a:schemeClr val="tx2"/>
                </a:soli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b="1"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a:t>Compute options for every workload </a:t>
            </a:r>
          </a:p>
          <a:p>
            <a:r>
              <a:rPr lang="en-US" sz="1400"/>
              <a:t>Robust monitoring, backup and governance tools </a:t>
            </a:r>
          </a:p>
          <a:p>
            <a:r>
              <a:rPr lang="en-US" sz="1400"/>
              <a:t>Incentives to save money</a:t>
            </a:r>
          </a:p>
          <a:p>
            <a:endParaRPr lang="en-US" sz="1400"/>
          </a:p>
          <a:p>
            <a:pPr>
              <a:spcBef>
                <a:spcPts val="1000"/>
              </a:spcBef>
            </a:pPr>
            <a:r>
              <a:rPr lang="en-US" sz="1400"/>
              <a:t>Low TCO with built-in HA</a:t>
            </a:r>
          </a:p>
          <a:p>
            <a:pPr>
              <a:spcBef>
                <a:spcPts val="1000"/>
              </a:spcBef>
            </a:pPr>
            <a:r>
              <a:rPr lang="en-US" sz="1400"/>
              <a:t>Fully managed community versions</a:t>
            </a:r>
          </a:p>
          <a:p>
            <a:pPr>
              <a:spcBef>
                <a:spcPts val="1000"/>
              </a:spcBef>
            </a:pPr>
            <a:r>
              <a:rPr lang="en-US" sz="1400"/>
              <a:t>Industry-leading compliance and layers of security </a:t>
            </a:r>
          </a:p>
          <a:p>
            <a:endParaRPr lang="en-US" sz="1050"/>
          </a:p>
          <a:p>
            <a:pPr>
              <a:spcBef>
                <a:spcPts val="1300"/>
              </a:spcBef>
            </a:pPr>
            <a:r>
              <a:rPr lang="en-US" sz="1400"/>
              <a:t>Visual Studio and VS Code for Database services</a:t>
            </a:r>
          </a:p>
          <a:p>
            <a:endParaRPr lang="en-US" sz="1400"/>
          </a:p>
          <a:p>
            <a:r>
              <a:rPr lang="en-US" sz="1400"/>
              <a:t>Fully Managed Cache service with Redis for scalable apps</a:t>
            </a:r>
          </a:p>
        </p:txBody>
      </p:sp>
      <p:cxnSp>
        <p:nvCxnSpPr>
          <p:cNvPr id="43" name="Straight Connector 42">
            <a:extLst>
              <a:ext uri="{FF2B5EF4-FFF2-40B4-BE49-F238E27FC236}">
                <a16:creationId xmlns:a16="http://schemas.microsoft.com/office/drawing/2014/main" id="{45691BC8-E944-4400-A010-8C7CFEED6C4A}"/>
              </a:ext>
              <a:ext uri="{C183D7F6-B498-43B3-948B-1728B52AA6E4}">
                <adec:decorative xmlns:adec="http://schemas.microsoft.com/office/drawing/2017/decorative" xmlns="" val="1"/>
              </a:ext>
            </a:extLst>
          </p:cNvPr>
          <p:cNvCxnSpPr>
            <a:cxnSpLocks/>
          </p:cNvCxnSpPr>
          <p:nvPr/>
        </p:nvCxnSpPr>
        <p:spPr>
          <a:xfrm flipV="1">
            <a:off x="6458015" y="3562949"/>
            <a:ext cx="5064131" cy="16605"/>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67AF3C-4E6C-462D-90C3-223C47FA7C13}"/>
              </a:ext>
              <a:ext uri="{C183D7F6-B498-43B3-948B-1728B52AA6E4}">
                <adec:decorative xmlns:adec="http://schemas.microsoft.com/office/drawing/2017/decorative" xmlns="" val="1"/>
              </a:ext>
            </a:extLst>
          </p:cNvPr>
          <p:cNvCxnSpPr>
            <a:cxnSpLocks/>
          </p:cNvCxnSpPr>
          <p:nvPr/>
        </p:nvCxnSpPr>
        <p:spPr>
          <a:xfrm>
            <a:off x="602750" y="6572623"/>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5E05AF-293A-4684-B891-7F5AAF4B09EB}"/>
              </a:ext>
              <a:ext uri="{C183D7F6-B498-43B3-948B-1728B52AA6E4}">
                <adec:decorative xmlns:adec="http://schemas.microsoft.com/office/drawing/2017/decorative" xmlns="" val="1"/>
              </a:ext>
            </a:extLst>
          </p:cNvPr>
          <p:cNvCxnSpPr>
            <a:cxnSpLocks/>
          </p:cNvCxnSpPr>
          <p:nvPr/>
        </p:nvCxnSpPr>
        <p:spPr>
          <a:xfrm>
            <a:off x="6428516" y="5256060"/>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zure Kubernetes Service (AKS) - CNCF Cloud Native Interactive ...">
            <a:extLst>
              <a:ext uri="{FF2B5EF4-FFF2-40B4-BE49-F238E27FC236}">
                <a16:creationId xmlns:a16="http://schemas.microsoft.com/office/drawing/2014/main" id="{637F321F-DD99-41FD-969B-D7BE381A6D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88646" y="5909812"/>
            <a:ext cx="885156" cy="53293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96B382BC-08CB-40EE-85ED-2985FC61B6EA}"/>
              </a:ext>
              <a:ext uri="{C183D7F6-B498-43B3-948B-1728B52AA6E4}">
                <adec:decorative xmlns:adec="http://schemas.microsoft.com/office/drawing/2017/decorative" xmlns="" val="1"/>
              </a:ext>
            </a:extLst>
          </p:cNvPr>
          <p:cNvCxnSpPr>
            <a:cxnSpLocks/>
          </p:cNvCxnSpPr>
          <p:nvPr/>
        </p:nvCxnSpPr>
        <p:spPr>
          <a:xfrm>
            <a:off x="6393136" y="6095488"/>
            <a:ext cx="5064131" cy="0"/>
          </a:xfrm>
          <a:prstGeom prst="line">
            <a:avLst/>
          </a:prstGeom>
          <a:ln w="95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 name="Group 14" descr="logos">
            <a:extLst>
              <a:ext uri="{FF2B5EF4-FFF2-40B4-BE49-F238E27FC236}">
                <a16:creationId xmlns:a16="http://schemas.microsoft.com/office/drawing/2014/main" id="{3F5289D3-37B6-4035-806B-FA0B6284F4AE}"/>
              </a:ext>
            </a:extLst>
          </p:cNvPr>
          <p:cNvGrpSpPr/>
          <p:nvPr/>
        </p:nvGrpSpPr>
        <p:grpSpPr>
          <a:xfrm>
            <a:off x="9328120" y="2024143"/>
            <a:ext cx="2084552" cy="4795637"/>
            <a:chOff x="9328120" y="2024143"/>
            <a:chExt cx="2084552" cy="4795637"/>
          </a:xfrm>
        </p:grpSpPr>
        <p:pic>
          <p:nvPicPr>
            <p:cNvPr id="7" name="Picture 58" descr="Image result for mySQL">
              <a:extLst>
                <a:ext uri="{FF2B5EF4-FFF2-40B4-BE49-F238E27FC236}">
                  <a16:creationId xmlns:a16="http://schemas.microsoft.com/office/drawing/2014/main" id="{AE3D00A0-C205-4AD5-B1E4-2BF47EA008C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0379306" y="2107678"/>
              <a:ext cx="736809" cy="4888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OGO POSTGRESQL - Play Jigsaw Puzzle for free Puzzle Factory">
              <a:extLst>
                <a:ext uri="{FF2B5EF4-FFF2-40B4-BE49-F238E27FC236}">
                  <a16:creationId xmlns:a16="http://schemas.microsoft.com/office/drawing/2014/main" id="{D03367C1-2955-4D54-ADE8-E1500EDA139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60054" y="2024143"/>
              <a:ext cx="590293" cy="65588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10 reasons to migrate to MariaDB (if still using MySQL) - Seravo">
              <a:extLst>
                <a:ext uri="{FF2B5EF4-FFF2-40B4-BE49-F238E27FC236}">
                  <a16:creationId xmlns:a16="http://schemas.microsoft.com/office/drawing/2014/main" id="{B6878812-A371-420D-9939-7EC54A65B7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27695" y="2787038"/>
              <a:ext cx="736809" cy="498859"/>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39">
              <a:extLst>
                <a:ext uri="{FF2B5EF4-FFF2-40B4-BE49-F238E27FC236}">
                  <a16:creationId xmlns:a16="http://schemas.microsoft.com/office/drawing/2014/main" id="{26A57119-7A91-4DE0-A841-13BE74C7CC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573267" y="3691875"/>
              <a:ext cx="674709" cy="674709"/>
            </a:xfrm>
            <a:prstGeom prst="rect">
              <a:avLst/>
            </a:prstGeom>
          </p:spPr>
        </p:pic>
        <p:pic>
          <p:nvPicPr>
            <p:cNvPr id="41" name="Graphic 40">
              <a:extLst>
                <a:ext uri="{FF2B5EF4-FFF2-40B4-BE49-F238E27FC236}">
                  <a16:creationId xmlns:a16="http://schemas.microsoft.com/office/drawing/2014/main" id="{EBC69007-8934-451F-8274-FF3DFC3663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472513" y="3682990"/>
              <a:ext cx="674709" cy="674709"/>
            </a:xfrm>
            <a:prstGeom prst="rect">
              <a:avLst/>
            </a:prstGeom>
          </p:spPr>
        </p:pic>
        <p:pic>
          <p:nvPicPr>
            <p:cNvPr id="42" name="Graphic 41">
              <a:extLst>
                <a:ext uri="{FF2B5EF4-FFF2-40B4-BE49-F238E27FC236}">
                  <a16:creationId xmlns:a16="http://schemas.microsoft.com/office/drawing/2014/main" id="{755F0C47-00C8-4359-B69F-7059A86DB7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10489795" y="4503987"/>
              <a:ext cx="674709" cy="674709"/>
            </a:xfrm>
            <a:prstGeom prst="rect">
              <a:avLst/>
            </a:prstGeom>
          </p:spPr>
        </p:pic>
        <p:pic>
          <p:nvPicPr>
            <p:cNvPr id="44" name="Graphic 43">
              <a:extLst>
                <a:ext uri="{FF2B5EF4-FFF2-40B4-BE49-F238E27FC236}">
                  <a16:creationId xmlns:a16="http://schemas.microsoft.com/office/drawing/2014/main" id="{3FBF2A00-5FE7-4B98-9ADF-BBFB7907AD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9535815" y="2802341"/>
              <a:ext cx="585216" cy="585216"/>
            </a:xfrm>
            <a:prstGeom prst="rect">
              <a:avLst/>
            </a:prstGeom>
          </p:spPr>
        </p:pic>
        <p:pic>
          <p:nvPicPr>
            <p:cNvPr id="29" name="Graphic 28">
              <a:extLst>
                <a:ext uri="{FF2B5EF4-FFF2-40B4-BE49-F238E27FC236}">
                  <a16:creationId xmlns:a16="http://schemas.microsoft.com/office/drawing/2014/main" id="{FBBE6929-3286-42CE-AA6D-9CA4CD05E30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9573267" y="4510132"/>
              <a:ext cx="674709" cy="674709"/>
            </a:xfrm>
            <a:prstGeom prst="rect">
              <a:avLst/>
            </a:prstGeom>
          </p:spPr>
        </p:pic>
        <p:pic>
          <p:nvPicPr>
            <p:cNvPr id="4098" name="Picture 2" descr="LaunchDarkly Visual Studio Code Extension">
              <a:extLst>
                <a:ext uri="{FF2B5EF4-FFF2-40B4-BE49-F238E27FC236}">
                  <a16:creationId xmlns:a16="http://schemas.microsoft.com/office/drawing/2014/main" id="{6E6E72BD-691E-441B-94E5-57D429C1F75C}"/>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79306" y="5448611"/>
              <a:ext cx="1033366" cy="51668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visual-studio-2013-logo">
              <a:extLst>
                <a:ext uri="{FF2B5EF4-FFF2-40B4-BE49-F238E27FC236}">
                  <a16:creationId xmlns:a16="http://schemas.microsoft.com/office/drawing/2014/main" id="{56C260DA-3B5E-4D72-B908-4B5C84785617}"/>
                </a:ext>
              </a:extLst>
            </p:cNvPr>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28120" y="5406601"/>
              <a:ext cx="1178459" cy="5892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CF1CED9D-0B81-4E17-8FCD-75E5A802D82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084693" y="6230554"/>
              <a:ext cx="589226" cy="589226"/>
            </a:xfrm>
            <a:prstGeom prst="rect">
              <a:avLst/>
            </a:prstGeom>
          </p:spPr>
        </p:pic>
      </p:grpSp>
      <p:sp>
        <p:nvSpPr>
          <p:cNvPr id="12" name="TextBox 11">
            <a:extLst>
              <a:ext uri="{FF2B5EF4-FFF2-40B4-BE49-F238E27FC236}">
                <a16:creationId xmlns:a16="http://schemas.microsoft.com/office/drawing/2014/main" id="{459A28E8-89D2-45CF-B3CB-B038ADEFB97F}"/>
              </a:ext>
            </a:extLst>
          </p:cNvPr>
          <p:cNvSpPr txBox="1"/>
          <p:nvPr/>
        </p:nvSpPr>
        <p:spPr>
          <a:xfrm>
            <a:off x="3727798" y="2057201"/>
            <a:ext cx="885156" cy="276999"/>
          </a:xfrm>
          <a:prstGeom prst="rect">
            <a:avLst/>
          </a:prstGeom>
          <a:noFill/>
        </p:spPr>
        <p:txBody>
          <a:bodyPr wrap="square" lIns="0" tIns="0" rIns="0" bIns="0" rtlCol="0">
            <a:spAutoFit/>
          </a:bodyPr>
          <a:lstStyle/>
          <a:p>
            <a:pPr algn="l"/>
            <a:r>
              <a:rPr lang="en-US" dirty="0"/>
              <a:t>Red Hat</a:t>
            </a:r>
          </a:p>
        </p:txBody>
      </p:sp>
      <p:sp>
        <p:nvSpPr>
          <p:cNvPr id="18" name="TextBox 17">
            <a:extLst>
              <a:ext uri="{FF2B5EF4-FFF2-40B4-BE49-F238E27FC236}">
                <a16:creationId xmlns:a16="http://schemas.microsoft.com/office/drawing/2014/main" id="{FD41F1BF-E837-48FB-AFE9-4BAD7695BABE}"/>
              </a:ext>
            </a:extLst>
          </p:cNvPr>
          <p:cNvSpPr txBox="1"/>
          <p:nvPr/>
        </p:nvSpPr>
        <p:spPr>
          <a:xfrm>
            <a:off x="3885432" y="3330833"/>
            <a:ext cx="569888" cy="276999"/>
          </a:xfrm>
          <a:prstGeom prst="rect">
            <a:avLst/>
          </a:prstGeom>
          <a:noFill/>
        </p:spPr>
        <p:txBody>
          <a:bodyPr wrap="square" lIns="0" tIns="0" rIns="0" bIns="0" rtlCol="0">
            <a:spAutoFit/>
          </a:bodyPr>
          <a:lstStyle/>
          <a:p>
            <a:pPr algn="l"/>
            <a:r>
              <a:rPr lang="en-US" dirty="0"/>
              <a:t>SUSE</a:t>
            </a:r>
          </a:p>
        </p:txBody>
      </p:sp>
      <p:sp>
        <p:nvSpPr>
          <p:cNvPr id="19" name="TextBox 18">
            <a:extLst>
              <a:ext uri="{FF2B5EF4-FFF2-40B4-BE49-F238E27FC236}">
                <a16:creationId xmlns:a16="http://schemas.microsoft.com/office/drawing/2014/main" id="{0713BC1C-A315-48BF-BFC0-1854C0BAA960}"/>
              </a:ext>
            </a:extLst>
          </p:cNvPr>
          <p:cNvSpPr txBox="1"/>
          <p:nvPr/>
        </p:nvSpPr>
        <p:spPr>
          <a:xfrm>
            <a:off x="3331988" y="4199549"/>
            <a:ext cx="803459" cy="276999"/>
          </a:xfrm>
          <a:prstGeom prst="rect">
            <a:avLst/>
          </a:prstGeom>
          <a:noFill/>
        </p:spPr>
        <p:txBody>
          <a:bodyPr wrap="square" lIns="0" tIns="0" rIns="0" bIns="0" rtlCol="0">
            <a:spAutoFit/>
          </a:bodyPr>
          <a:lstStyle/>
          <a:p>
            <a:pPr algn="l"/>
            <a:r>
              <a:rPr lang="en-US" dirty="0"/>
              <a:t>Ubuntu</a:t>
            </a:r>
          </a:p>
        </p:txBody>
      </p:sp>
      <p:sp>
        <p:nvSpPr>
          <p:cNvPr id="20" name="TextBox 19">
            <a:extLst>
              <a:ext uri="{FF2B5EF4-FFF2-40B4-BE49-F238E27FC236}">
                <a16:creationId xmlns:a16="http://schemas.microsoft.com/office/drawing/2014/main" id="{FF6EA44B-8289-4468-91DE-F6D49B3C5E0D}"/>
              </a:ext>
            </a:extLst>
          </p:cNvPr>
          <p:cNvSpPr txBox="1"/>
          <p:nvPr/>
        </p:nvSpPr>
        <p:spPr>
          <a:xfrm>
            <a:off x="4248601" y="4199549"/>
            <a:ext cx="803459" cy="276999"/>
          </a:xfrm>
          <a:prstGeom prst="rect">
            <a:avLst/>
          </a:prstGeom>
          <a:noFill/>
        </p:spPr>
        <p:txBody>
          <a:bodyPr wrap="square" lIns="0" tIns="0" rIns="0" bIns="0" rtlCol="0">
            <a:spAutoFit/>
          </a:bodyPr>
          <a:lstStyle/>
          <a:p>
            <a:pPr algn="l"/>
            <a:r>
              <a:rPr lang="en-US" dirty="0"/>
              <a:t>CentOS</a:t>
            </a:r>
          </a:p>
        </p:txBody>
      </p:sp>
      <p:sp>
        <p:nvSpPr>
          <p:cNvPr id="22" name="TextBox 21">
            <a:extLst>
              <a:ext uri="{FF2B5EF4-FFF2-40B4-BE49-F238E27FC236}">
                <a16:creationId xmlns:a16="http://schemas.microsoft.com/office/drawing/2014/main" id="{3BC1C802-AD2F-42ED-B9FA-4D7E2D3913FC}"/>
              </a:ext>
            </a:extLst>
          </p:cNvPr>
          <p:cNvSpPr txBox="1"/>
          <p:nvPr/>
        </p:nvSpPr>
        <p:spPr>
          <a:xfrm>
            <a:off x="4938163" y="4991741"/>
            <a:ext cx="569888" cy="276999"/>
          </a:xfrm>
          <a:prstGeom prst="rect">
            <a:avLst/>
          </a:prstGeom>
          <a:noFill/>
        </p:spPr>
        <p:txBody>
          <a:bodyPr wrap="square" lIns="0" tIns="0" rIns="0" bIns="0" rtlCol="0">
            <a:spAutoFit/>
          </a:bodyPr>
          <a:lstStyle/>
          <a:p>
            <a:pPr algn="l"/>
            <a:r>
              <a:rPr lang="en-US" dirty="0"/>
              <a:t>SUSE</a:t>
            </a:r>
          </a:p>
        </p:txBody>
      </p:sp>
      <p:sp>
        <p:nvSpPr>
          <p:cNvPr id="23" name="TextBox 22">
            <a:extLst>
              <a:ext uri="{FF2B5EF4-FFF2-40B4-BE49-F238E27FC236}">
                <a16:creationId xmlns:a16="http://schemas.microsoft.com/office/drawing/2014/main" id="{25DEA6B9-BABB-4080-BF7D-2864E031BF3B}"/>
              </a:ext>
            </a:extLst>
          </p:cNvPr>
          <p:cNvSpPr txBox="1"/>
          <p:nvPr/>
        </p:nvSpPr>
        <p:spPr>
          <a:xfrm>
            <a:off x="3944785" y="4991741"/>
            <a:ext cx="803459" cy="276999"/>
          </a:xfrm>
          <a:prstGeom prst="rect">
            <a:avLst/>
          </a:prstGeom>
          <a:noFill/>
        </p:spPr>
        <p:txBody>
          <a:bodyPr wrap="square" lIns="0" tIns="0" rIns="0" bIns="0" rtlCol="0">
            <a:spAutoFit/>
          </a:bodyPr>
          <a:lstStyle/>
          <a:p>
            <a:pPr algn="l"/>
            <a:r>
              <a:rPr lang="en-US" dirty="0"/>
              <a:t>Debian</a:t>
            </a:r>
          </a:p>
        </p:txBody>
      </p:sp>
      <p:sp>
        <p:nvSpPr>
          <p:cNvPr id="24" name="TextBox 23">
            <a:extLst>
              <a:ext uri="{FF2B5EF4-FFF2-40B4-BE49-F238E27FC236}">
                <a16:creationId xmlns:a16="http://schemas.microsoft.com/office/drawing/2014/main" id="{607E45B3-BB12-41E2-9D19-6EC3A42BAB54}"/>
              </a:ext>
            </a:extLst>
          </p:cNvPr>
          <p:cNvSpPr txBox="1"/>
          <p:nvPr/>
        </p:nvSpPr>
        <p:spPr>
          <a:xfrm>
            <a:off x="4569516" y="5923471"/>
            <a:ext cx="888750" cy="492443"/>
          </a:xfrm>
          <a:prstGeom prst="rect">
            <a:avLst/>
          </a:prstGeom>
          <a:noFill/>
        </p:spPr>
        <p:txBody>
          <a:bodyPr wrap="square" lIns="0" tIns="0" rIns="0" bIns="0" rtlCol="0">
            <a:spAutoFit/>
          </a:bodyPr>
          <a:lstStyle/>
          <a:p>
            <a:pPr algn="l"/>
            <a:r>
              <a:rPr lang="en-US" dirty="0"/>
              <a:t>Red Hat</a:t>
            </a:r>
          </a:p>
          <a:p>
            <a:pPr algn="l"/>
            <a:r>
              <a:rPr lang="en-US" sz="1400" dirty="0"/>
              <a:t>OpenShift</a:t>
            </a:r>
          </a:p>
        </p:txBody>
      </p:sp>
      <p:sp>
        <p:nvSpPr>
          <p:cNvPr id="25" name="TextBox 24">
            <a:extLst>
              <a:ext uri="{FF2B5EF4-FFF2-40B4-BE49-F238E27FC236}">
                <a16:creationId xmlns:a16="http://schemas.microsoft.com/office/drawing/2014/main" id="{C02784E1-E0CF-43D6-AB7C-EDE8C8FA75BC}"/>
              </a:ext>
            </a:extLst>
          </p:cNvPr>
          <p:cNvSpPr txBox="1"/>
          <p:nvPr/>
        </p:nvSpPr>
        <p:spPr>
          <a:xfrm>
            <a:off x="3036139" y="4991741"/>
            <a:ext cx="713169" cy="276999"/>
          </a:xfrm>
          <a:prstGeom prst="rect">
            <a:avLst/>
          </a:prstGeom>
          <a:noFill/>
        </p:spPr>
        <p:txBody>
          <a:bodyPr wrap="square" lIns="0" tIns="0" rIns="0" bIns="0" rtlCol="0">
            <a:spAutoFit/>
          </a:bodyPr>
          <a:lstStyle/>
          <a:p>
            <a:pPr algn="l"/>
            <a:r>
              <a:rPr lang="en-US" dirty="0"/>
              <a:t>Flatcar</a:t>
            </a:r>
          </a:p>
        </p:txBody>
      </p:sp>
    </p:spTree>
    <p:extLst>
      <p:ext uri="{BB962C8B-B14F-4D97-AF65-F5344CB8AC3E}">
        <p14:creationId xmlns:p14="http://schemas.microsoft.com/office/powerpoint/2010/main" val="295849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F212C42-371C-44A8-9ECF-A2250E74CFB2}"/>
              </a:ext>
              <a:ext uri="{C183D7F6-B498-43B3-948B-1728B52AA6E4}">
                <adec:decorative xmlns:adec="http://schemas.microsoft.com/office/drawing/2017/decorative" xmlns="" val="1"/>
              </a:ext>
            </a:extLst>
          </p:cNvPr>
          <p:cNvGrpSpPr/>
          <p:nvPr/>
        </p:nvGrpSpPr>
        <p:grpSpPr>
          <a:xfrm>
            <a:off x="694836" y="2367124"/>
            <a:ext cx="566753" cy="564573"/>
            <a:chOff x="694836" y="2367124"/>
            <a:chExt cx="566753" cy="564573"/>
          </a:xfrm>
        </p:grpSpPr>
        <p:sp>
          <p:nvSpPr>
            <p:cNvPr id="13" name="Freeform: Shape 12">
              <a:extLst>
                <a:ext uri="{FF2B5EF4-FFF2-40B4-BE49-F238E27FC236}">
                  <a16:creationId xmlns:a16="http://schemas.microsoft.com/office/drawing/2014/main" id="{94CB5633-E7B9-43DF-92AC-038BED2DF05F}"/>
                </a:ext>
              </a:extLst>
            </p:cNvPr>
            <p:cNvSpPr/>
            <p:nvPr/>
          </p:nvSpPr>
          <p:spPr>
            <a:xfrm>
              <a:off x="694836" y="2665486"/>
              <a:ext cx="268381" cy="266200"/>
            </a:xfrm>
            <a:custGeom>
              <a:avLst/>
              <a:gdLst>
                <a:gd name="connsiteX0" fmla="*/ 289618 w 339315"/>
                <a:gd name="connsiteY0" fmla="*/ 287895 h 336557"/>
                <a:gd name="connsiteX1" fmla="*/ 51449 w 339315"/>
                <a:gd name="connsiteY1" fmla="*/ 287895 h 336557"/>
                <a:gd name="connsiteX2" fmla="*/ 51449 w 339315"/>
                <a:gd name="connsiteY2" fmla="*/ 51408 h 336557"/>
                <a:gd name="connsiteX3" fmla="*/ 98346 w 339315"/>
                <a:gd name="connsiteY3" fmla="*/ 51408 h 336557"/>
                <a:gd name="connsiteX4" fmla="*/ 89657 w 339315"/>
                <a:gd name="connsiteY4" fmla="*/ 4510 h 336557"/>
                <a:gd name="connsiteX5" fmla="*/ 89657 w 339315"/>
                <a:gd name="connsiteY5" fmla="*/ 1035 h 336557"/>
                <a:gd name="connsiteX6" fmla="*/ 1034 w 339315"/>
                <a:gd name="connsiteY6" fmla="*/ 1035 h 336557"/>
                <a:gd name="connsiteX7" fmla="*/ 1034 w 339315"/>
                <a:gd name="connsiteY7" fmla="*/ 336571 h 336557"/>
                <a:gd name="connsiteX8" fmla="*/ 338295 w 339315"/>
                <a:gd name="connsiteY8" fmla="*/ 336571 h 336557"/>
                <a:gd name="connsiteX9" fmla="*/ 338295 w 339315"/>
                <a:gd name="connsiteY9" fmla="*/ 138389 h 336557"/>
                <a:gd name="connsiteX10" fmla="*/ 289618 w 339315"/>
                <a:gd name="connsiteY10" fmla="*/ 138389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315" h="336557">
                  <a:moveTo>
                    <a:pt x="289618" y="287895"/>
                  </a:moveTo>
                  <a:lnTo>
                    <a:pt x="51449" y="287895"/>
                  </a:lnTo>
                  <a:lnTo>
                    <a:pt x="51449" y="51408"/>
                  </a:lnTo>
                  <a:lnTo>
                    <a:pt x="98346" y="51408"/>
                  </a:lnTo>
                  <a:cubicBezTo>
                    <a:pt x="92641" y="36428"/>
                    <a:pt x="89697" y="20540"/>
                    <a:pt x="89657" y="4510"/>
                  </a:cubicBezTo>
                  <a:lnTo>
                    <a:pt x="89657" y="1035"/>
                  </a:lnTo>
                  <a:lnTo>
                    <a:pt x="1034" y="1035"/>
                  </a:lnTo>
                  <a:lnTo>
                    <a:pt x="1034" y="336571"/>
                  </a:lnTo>
                  <a:lnTo>
                    <a:pt x="338295" y="336571"/>
                  </a:lnTo>
                  <a:lnTo>
                    <a:pt x="338295" y="138389"/>
                  </a:lnTo>
                  <a:lnTo>
                    <a:pt x="289618" y="138389"/>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382AE1C-308A-4F65-8183-13EEEA8898C1}"/>
                </a:ext>
              </a:extLst>
            </p:cNvPr>
            <p:cNvSpPr/>
            <p:nvPr/>
          </p:nvSpPr>
          <p:spPr>
            <a:xfrm>
              <a:off x="993208" y="2665497"/>
              <a:ext cx="268381" cy="266200"/>
            </a:xfrm>
            <a:custGeom>
              <a:avLst/>
              <a:gdLst>
                <a:gd name="connsiteX0" fmla="*/ 244418 w 339315"/>
                <a:gd name="connsiteY0" fmla="*/ 47973 h 336557"/>
                <a:gd name="connsiteX1" fmla="*/ 244418 w 339315"/>
                <a:gd name="connsiteY1" fmla="*/ 51394 h 336557"/>
                <a:gd name="connsiteX2" fmla="*/ 287880 w 339315"/>
                <a:gd name="connsiteY2" fmla="*/ 51394 h 336557"/>
                <a:gd name="connsiteX3" fmla="*/ 287880 w 339315"/>
                <a:gd name="connsiteY3" fmla="*/ 287881 h 336557"/>
                <a:gd name="connsiteX4" fmla="*/ 49711 w 339315"/>
                <a:gd name="connsiteY4" fmla="*/ 287881 h 336557"/>
                <a:gd name="connsiteX5" fmla="*/ 49711 w 339315"/>
                <a:gd name="connsiteY5" fmla="*/ 138375 h 336557"/>
                <a:gd name="connsiteX6" fmla="*/ 1034 w 339315"/>
                <a:gd name="connsiteY6" fmla="*/ 138375 h 336557"/>
                <a:gd name="connsiteX7" fmla="*/ 1034 w 339315"/>
                <a:gd name="connsiteY7" fmla="*/ 336558 h 336557"/>
                <a:gd name="connsiteX8" fmla="*/ 338295 w 339315"/>
                <a:gd name="connsiteY8" fmla="*/ 336558 h 336557"/>
                <a:gd name="connsiteX9" fmla="*/ 338295 w 339315"/>
                <a:gd name="connsiteY9" fmla="*/ 1035 h 336557"/>
                <a:gd name="connsiteX10" fmla="*/ 232252 w 339315"/>
                <a:gd name="connsiteY10" fmla="*/ 1035 h 336557"/>
                <a:gd name="connsiteX11" fmla="*/ 244418 w 339315"/>
                <a:gd name="connsiteY11" fmla="*/ 47973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244418" y="47973"/>
                  </a:moveTo>
                  <a:lnTo>
                    <a:pt x="244418" y="51394"/>
                  </a:lnTo>
                  <a:lnTo>
                    <a:pt x="287880" y="51394"/>
                  </a:lnTo>
                  <a:lnTo>
                    <a:pt x="287880" y="287881"/>
                  </a:lnTo>
                  <a:lnTo>
                    <a:pt x="49711" y="287881"/>
                  </a:lnTo>
                  <a:lnTo>
                    <a:pt x="49711" y="138375"/>
                  </a:lnTo>
                  <a:lnTo>
                    <a:pt x="1034" y="138375"/>
                  </a:lnTo>
                  <a:lnTo>
                    <a:pt x="1034" y="336558"/>
                  </a:lnTo>
                  <a:lnTo>
                    <a:pt x="338295" y="336558"/>
                  </a:lnTo>
                  <a:lnTo>
                    <a:pt x="338295" y="1035"/>
                  </a:lnTo>
                  <a:lnTo>
                    <a:pt x="232252" y="1035"/>
                  </a:lnTo>
                  <a:cubicBezTo>
                    <a:pt x="240942" y="14952"/>
                    <a:pt x="244418" y="30594"/>
                    <a:pt x="244418" y="4797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798AB2F9-A2F9-4593-B354-AD6371C4C7C1}"/>
                </a:ext>
              </a:extLst>
            </p:cNvPr>
            <p:cNvSpPr/>
            <p:nvPr/>
          </p:nvSpPr>
          <p:spPr>
            <a:xfrm>
              <a:off x="696210" y="2368499"/>
              <a:ext cx="266199" cy="266200"/>
            </a:xfrm>
            <a:custGeom>
              <a:avLst/>
              <a:gdLst>
                <a:gd name="connsiteX0" fmla="*/ 129685 w 336557"/>
                <a:gd name="connsiteY0" fmla="*/ 287881 h 336557"/>
                <a:gd name="connsiteX1" fmla="*/ 49684 w 336557"/>
                <a:gd name="connsiteY1" fmla="*/ 286143 h 336557"/>
                <a:gd name="connsiteX2" fmla="*/ 49684 w 336557"/>
                <a:gd name="connsiteY2" fmla="*/ 49711 h 336557"/>
                <a:gd name="connsiteX3" fmla="*/ 287880 w 336557"/>
                <a:gd name="connsiteY3" fmla="*/ 49711 h 336557"/>
                <a:gd name="connsiteX4" fmla="*/ 287880 w 336557"/>
                <a:gd name="connsiteY4" fmla="*/ 187052 h 336557"/>
                <a:gd name="connsiteX5" fmla="*/ 336557 w 336557"/>
                <a:gd name="connsiteY5" fmla="*/ 162706 h 336557"/>
                <a:gd name="connsiteX6" fmla="*/ 336557 w 336557"/>
                <a:gd name="connsiteY6" fmla="*/ 1035 h 336557"/>
                <a:gd name="connsiteX7" fmla="*/ 1034 w 336557"/>
                <a:gd name="connsiteY7" fmla="*/ 1035 h 336557"/>
                <a:gd name="connsiteX8" fmla="*/ 1034 w 336557"/>
                <a:gd name="connsiteY8" fmla="*/ 336558 h 336557"/>
                <a:gd name="connsiteX9" fmla="*/ 98388 w 336557"/>
                <a:gd name="connsiteY9" fmla="*/ 336558 h 336557"/>
                <a:gd name="connsiteX10" fmla="*/ 129685 w 336557"/>
                <a:gd name="connsiteY10" fmla="*/ 287881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557" h="336557">
                  <a:moveTo>
                    <a:pt x="129685" y="287881"/>
                  </a:moveTo>
                  <a:lnTo>
                    <a:pt x="49684" y="286143"/>
                  </a:lnTo>
                  <a:lnTo>
                    <a:pt x="49684" y="49711"/>
                  </a:lnTo>
                  <a:lnTo>
                    <a:pt x="287880" y="49711"/>
                  </a:lnTo>
                  <a:lnTo>
                    <a:pt x="287880" y="187052"/>
                  </a:lnTo>
                  <a:cubicBezTo>
                    <a:pt x="303522" y="176610"/>
                    <a:pt x="319164" y="167920"/>
                    <a:pt x="336557" y="162706"/>
                  </a:cubicBezTo>
                  <a:lnTo>
                    <a:pt x="336557" y="1035"/>
                  </a:lnTo>
                  <a:lnTo>
                    <a:pt x="1034" y="1035"/>
                  </a:lnTo>
                  <a:lnTo>
                    <a:pt x="1034" y="336558"/>
                  </a:lnTo>
                  <a:lnTo>
                    <a:pt x="98388" y="336558"/>
                  </a:lnTo>
                  <a:cubicBezTo>
                    <a:pt x="105035" y="318189"/>
                    <a:pt x="115731" y="301552"/>
                    <a:pt x="129685" y="28788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D0784D32-0428-47F9-97AC-5D2FE8602B4B}"/>
                </a:ext>
              </a:extLst>
            </p:cNvPr>
            <p:cNvSpPr/>
            <p:nvPr/>
          </p:nvSpPr>
          <p:spPr>
            <a:xfrm>
              <a:off x="993208" y="2367124"/>
              <a:ext cx="268381" cy="266200"/>
            </a:xfrm>
            <a:custGeom>
              <a:avLst/>
              <a:gdLst>
                <a:gd name="connsiteX0" fmla="*/ 1034 w 339315"/>
                <a:gd name="connsiteY0" fmla="*/ 1035 h 336557"/>
                <a:gd name="connsiteX1" fmla="*/ 1034 w 339315"/>
                <a:gd name="connsiteY1" fmla="*/ 155754 h 336557"/>
                <a:gd name="connsiteX2" fmla="*/ 13214 w 339315"/>
                <a:gd name="connsiteY2" fmla="*/ 155754 h 336557"/>
                <a:gd name="connsiteX3" fmla="*/ 49711 w 339315"/>
                <a:gd name="connsiteY3" fmla="*/ 161037 h 336557"/>
                <a:gd name="connsiteX4" fmla="*/ 49711 w 339315"/>
                <a:gd name="connsiteY4" fmla="*/ 51449 h 336557"/>
                <a:gd name="connsiteX5" fmla="*/ 287880 w 339315"/>
                <a:gd name="connsiteY5" fmla="*/ 51449 h 336557"/>
                <a:gd name="connsiteX6" fmla="*/ 287880 w 339315"/>
                <a:gd name="connsiteY6" fmla="*/ 287936 h 336557"/>
                <a:gd name="connsiteX7" fmla="*/ 185313 w 339315"/>
                <a:gd name="connsiteY7" fmla="*/ 287936 h 336557"/>
                <a:gd name="connsiteX8" fmla="*/ 192210 w 339315"/>
                <a:gd name="connsiteY8" fmla="*/ 334833 h 336557"/>
                <a:gd name="connsiteX9" fmla="*/ 192210 w 339315"/>
                <a:gd name="connsiteY9" fmla="*/ 336571 h 336557"/>
                <a:gd name="connsiteX10" fmla="*/ 338295 w 339315"/>
                <a:gd name="connsiteY10" fmla="*/ 336571 h 336557"/>
                <a:gd name="connsiteX11" fmla="*/ 338295 w 339315"/>
                <a:gd name="connsiteY11" fmla="*/ 1035 h 33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15" h="336557">
                  <a:moveTo>
                    <a:pt x="1034" y="1035"/>
                  </a:moveTo>
                  <a:lnTo>
                    <a:pt x="1034" y="155754"/>
                  </a:lnTo>
                  <a:lnTo>
                    <a:pt x="13214" y="155754"/>
                  </a:lnTo>
                  <a:cubicBezTo>
                    <a:pt x="25567" y="155803"/>
                    <a:pt x="37852" y="157581"/>
                    <a:pt x="49711" y="161037"/>
                  </a:cubicBezTo>
                  <a:lnTo>
                    <a:pt x="49711" y="51449"/>
                  </a:lnTo>
                  <a:lnTo>
                    <a:pt x="287880" y="51449"/>
                  </a:lnTo>
                  <a:lnTo>
                    <a:pt x="287880" y="287936"/>
                  </a:lnTo>
                  <a:lnTo>
                    <a:pt x="185313" y="287936"/>
                  </a:lnTo>
                  <a:cubicBezTo>
                    <a:pt x="188789" y="303578"/>
                    <a:pt x="192210" y="319219"/>
                    <a:pt x="192210" y="334833"/>
                  </a:cubicBezTo>
                  <a:lnTo>
                    <a:pt x="192210" y="336571"/>
                  </a:lnTo>
                  <a:lnTo>
                    <a:pt x="338295" y="336571"/>
                  </a:lnTo>
                  <a:lnTo>
                    <a:pt x="338295" y="1035"/>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D46FCB1F-1466-474F-9D5D-10B64CC11C74}"/>
                </a:ext>
              </a:extLst>
            </p:cNvPr>
            <p:cNvSpPr/>
            <p:nvPr/>
          </p:nvSpPr>
          <p:spPr>
            <a:xfrm>
              <a:off x="796646" y="2517003"/>
              <a:ext cx="361114" cy="228015"/>
            </a:xfrm>
            <a:custGeom>
              <a:avLst/>
              <a:gdLst>
                <a:gd name="connsiteX0" fmla="*/ 261728 w 456558"/>
                <a:gd name="connsiteY0" fmla="*/ 1035 h 288280"/>
                <a:gd name="connsiteX1" fmla="*/ 127933 w 456558"/>
                <a:gd name="connsiteY1" fmla="*/ 98388 h 288280"/>
                <a:gd name="connsiteX2" fmla="*/ 96636 w 456558"/>
                <a:gd name="connsiteY2" fmla="*/ 93174 h 288280"/>
                <a:gd name="connsiteX3" fmla="*/ 1034 w 456558"/>
                <a:gd name="connsiteY3" fmla="*/ 190514 h 288280"/>
                <a:gd name="connsiteX4" fmla="*/ 96636 w 456558"/>
                <a:gd name="connsiteY4" fmla="*/ 287867 h 288280"/>
                <a:gd name="connsiteX5" fmla="*/ 409496 w 456558"/>
                <a:gd name="connsiteY5" fmla="*/ 287867 h 288280"/>
                <a:gd name="connsiteX6" fmla="*/ 456393 w 456558"/>
                <a:gd name="connsiteY6" fmla="*/ 235714 h 288280"/>
                <a:gd name="connsiteX7" fmla="*/ 404241 w 456558"/>
                <a:gd name="connsiteY7" fmla="*/ 181824 h 288280"/>
                <a:gd name="connsiteX8" fmla="*/ 397344 w 456558"/>
                <a:gd name="connsiteY8" fmla="*/ 181824 h 288280"/>
                <a:gd name="connsiteX9" fmla="*/ 402558 w 456558"/>
                <a:gd name="connsiteY9" fmla="*/ 143589 h 288280"/>
                <a:gd name="connsiteX10" fmla="*/ 261728 w 456558"/>
                <a:gd name="connsiteY10" fmla="*/ 1035 h 2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558" h="288280">
                  <a:moveTo>
                    <a:pt x="261728" y="1035"/>
                  </a:moveTo>
                  <a:cubicBezTo>
                    <a:pt x="199134" y="1035"/>
                    <a:pt x="146982" y="41035"/>
                    <a:pt x="127933" y="98388"/>
                  </a:cubicBezTo>
                  <a:cubicBezTo>
                    <a:pt x="117852" y="94969"/>
                    <a:pt x="107282" y="93209"/>
                    <a:pt x="96636" y="93174"/>
                  </a:cubicBezTo>
                  <a:cubicBezTo>
                    <a:pt x="42745" y="93174"/>
                    <a:pt x="1034" y="136623"/>
                    <a:pt x="1034" y="190514"/>
                  </a:cubicBezTo>
                  <a:cubicBezTo>
                    <a:pt x="1034" y="244404"/>
                    <a:pt x="44483" y="287867"/>
                    <a:pt x="96636" y="287867"/>
                  </a:cubicBezTo>
                  <a:lnTo>
                    <a:pt x="409496" y="287867"/>
                  </a:lnTo>
                  <a:cubicBezTo>
                    <a:pt x="435565" y="286129"/>
                    <a:pt x="456393" y="263536"/>
                    <a:pt x="456393" y="235714"/>
                  </a:cubicBezTo>
                  <a:cubicBezTo>
                    <a:pt x="456393" y="206169"/>
                    <a:pt x="432062" y="181824"/>
                    <a:pt x="404241" y="181824"/>
                  </a:cubicBezTo>
                  <a:lnTo>
                    <a:pt x="397344" y="181824"/>
                  </a:lnTo>
                  <a:cubicBezTo>
                    <a:pt x="400897" y="169393"/>
                    <a:pt x="402653" y="156517"/>
                    <a:pt x="402558" y="143589"/>
                  </a:cubicBezTo>
                  <a:cubicBezTo>
                    <a:pt x="402530" y="65339"/>
                    <a:pt x="339909" y="1035"/>
                    <a:pt x="261728" y="10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81029F7E-38C3-4A21-AA9D-2A387D5888D8}"/>
              </a:ext>
            </a:extLst>
          </p:cNvPr>
          <p:cNvSpPr>
            <a:spLocks noGrp="1"/>
          </p:cNvSpPr>
          <p:nvPr>
            <p:ph type="title"/>
          </p:nvPr>
        </p:nvSpPr>
        <p:spPr>
          <a:xfrm>
            <a:off x="1558791" y="2352651"/>
            <a:ext cx="4465831" cy="1020602"/>
          </a:xfrm>
        </p:spPr>
        <p:txBody>
          <a:bodyPr/>
          <a:lstStyle/>
          <a:p>
            <a:r>
              <a:rPr lang="en-US" spc="-50">
                <a:ln w="3175">
                  <a:noFill/>
                </a:ln>
                <a:solidFill>
                  <a:schemeClr val="accent2"/>
                </a:solidFill>
                <a:cs typeface="Segoe UI" pitchFamily="34" charset="0"/>
              </a:rPr>
              <a:t>Azure App Service</a:t>
            </a:r>
            <a:endParaRPr lang="en-US">
              <a:solidFill>
                <a:schemeClr val="accent2"/>
              </a:solidFill>
            </a:endParaRPr>
          </a:p>
        </p:txBody>
      </p:sp>
      <p:sp>
        <p:nvSpPr>
          <p:cNvPr id="33" name="Rectangle 32">
            <a:extLst>
              <a:ext uri="{FF2B5EF4-FFF2-40B4-BE49-F238E27FC236}">
                <a16:creationId xmlns:a16="http://schemas.microsoft.com/office/drawing/2014/main" id="{424489BE-2896-44C2-9894-F2017A1CB02D}"/>
              </a:ext>
              <a:ext uri="{C183D7F6-B498-43B3-948B-1728B52AA6E4}">
                <adec:decorative xmlns:adec="http://schemas.microsoft.com/office/drawing/2017/decorative" xmlns="" val="1"/>
              </a:ext>
            </a:extLst>
          </p:cNvPr>
          <p:cNvSpPr/>
          <p:nvPr/>
        </p:nvSpPr>
        <p:spPr>
          <a:xfrm>
            <a:off x="6394068" y="0"/>
            <a:ext cx="578630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4" name="Group 33" descr="Only fully-managed service for any .NET web application">
            <a:extLst>
              <a:ext uri="{FF2B5EF4-FFF2-40B4-BE49-F238E27FC236}">
                <a16:creationId xmlns:a16="http://schemas.microsoft.com/office/drawing/2014/main" id="{DBD5A1EC-8411-4D93-A793-7E1A7A2E917C}"/>
              </a:ext>
            </a:extLst>
          </p:cNvPr>
          <p:cNvGrpSpPr/>
          <p:nvPr/>
        </p:nvGrpSpPr>
        <p:grpSpPr>
          <a:xfrm>
            <a:off x="6392246" y="881029"/>
            <a:ext cx="4684727" cy="830996"/>
            <a:chOff x="6392246" y="881029"/>
            <a:chExt cx="4684727" cy="830996"/>
          </a:xfrm>
        </p:grpSpPr>
        <p:sp>
          <p:nvSpPr>
            <p:cNvPr id="35" name="Rectangle 34">
              <a:extLst>
                <a:ext uri="{FF2B5EF4-FFF2-40B4-BE49-F238E27FC236}">
                  <a16:creationId xmlns:a16="http://schemas.microsoft.com/office/drawing/2014/main" id="{C8B4E50A-5336-4685-9BC0-B0B5B3A919FA}"/>
                </a:ext>
              </a:extLst>
            </p:cNvPr>
            <p:cNvSpPr/>
            <p:nvPr/>
          </p:nvSpPr>
          <p:spPr>
            <a:xfrm>
              <a:off x="6738863" y="881029"/>
              <a:ext cx="4338110" cy="830996"/>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Only fully-managed service for any .NET web application</a:t>
              </a:r>
            </a:p>
          </p:txBody>
        </p:sp>
        <p:sp>
          <p:nvSpPr>
            <p:cNvPr id="36" name="Isosceles Triangle 35">
              <a:extLst>
                <a:ext uri="{FF2B5EF4-FFF2-40B4-BE49-F238E27FC236}">
                  <a16:creationId xmlns:a16="http://schemas.microsoft.com/office/drawing/2014/main" id="{6B33901A-7405-4FC4-9119-05D8B7A67279}"/>
                </a:ext>
              </a:extLst>
            </p:cNvPr>
            <p:cNvSpPr/>
            <p:nvPr/>
          </p:nvSpPr>
          <p:spPr>
            <a:xfrm rot="5400000">
              <a:off x="6251630" y="1213376"/>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37" name="Group 36" descr="Automated load balancing and infrastructure maintenance">
            <a:extLst>
              <a:ext uri="{FF2B5EF4-FFF2-40B4-BE49-F238E27FC236}">
                <a16:creationId xmlns:a16="http://schemas.microsoft.com/office/drawing/2014/main" id="{7BE63841-FAA2-45BC-B901-539A7D1EF84B}"/>
              </a:ext>
            </a:extLst>
          </p:cNvPr>
          <p:cNvGrpSpPr/>
          <p:nvPr/>
        </p:nvGrpSpPr>
        <p:grpSpPr>
          <a:xfrm>
            <a:off x="6384095" y="2302677"/>
            <a:ext cx="5226886" cy="830997"/>
            <a:chOff x="6384095" y="2302677"/>
            <a:chExt cx="5226886" cy="830997"/>
          </a:xfrm>
        </p:grpSpPr>
        <p:sp>
          <p:nvSpPr>
            <p:cNvPr id="38" name="Rectangle 37">
              <a:extLst>
                <a:ext uri="{FF2B5EF4-FFF2-40B4-BE49-F238E27FC236}">
                  <a16:creationId xmlns:a16="http://schemas.microsoft.com/office/drawing/2014/main" id="{47773C17-678A-4421-8F95-D57986D9B8C0}"/>
                </a:ext>
              </a:extLst>
            </p:cNvPr>
            <p:cNvSpPr/>
            <p:nvPr/>
          </p:nvSpPr>
          <p:spPr>
            <a:xfrm>
              <a:off x="6738862" y="2302677"/>
              <a:ext cx="4872119" cy="83099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load balancing and infrastructure maintenance</a:t>
              </a:r>
            </a:p>
          </p:txBody>
        </p:sp>
        <p:sp>
          <p:nvSpPr>
            <p:cNvPr id="39" name="Isosceles Triangle 38">
              <a:extLst>
                <a:ext uri="{FF2B5EF4-FFF2-40B4-BE49-F238E27FC236}">
                  <a16:creationId xmlns:a16="http://schemas.microsoft.com/office/drawing/2014/main" id="{2C3B35AD-2F38-42B7-B4E1-06945F8A6209}"/>
                </a:ext>
              </a:extLst>
            </p:cNvPr>
            <p:cNvSpPr/>
            <p:nvPr/>
          </p:nvSpPr>
          <p:spPr>
            <a:xfrm rot="5400000">
              <a:off x="6243479" y="2635024"/>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descr="Build in autoscaling">
            <a:extLst>
              <a:ext uri="{FF2B5EF4-FFF2-40B4-BE49-F238E27FC236}">
                <a16:creationId xmlns:a16="http://schemas.microsoft.com/office/drawing/2014/main" id="{4A42DF2E-6FC0-4BB0-9B8D-914139D78412}"/>
              </a:ext>
            </a:extLst>
          </p:cNvPr>
          <p:cNvGrpSpPr/>
          <p:nvPr/>
        </p:nvGrpSpPr>
        <p:grpSpPr>
          <a:xfrm>
            <a:off x="6384095" y="3916056"/>
            <a:ext cx="3240301" cy="471639"/>
            <a:chOff x="6384095" y="3916056"/>
            <a:chExt cx="3240301" cy="471639"/>
          </a:xfrm>
        </p:grpSpPr>
        <p:sp>
          <p:nvSpPr>
            <p:cNvPr id="41" name="Rectangle 40">
              <a:extLst>
                <a:ext uri="{FF2B5EF4-FFF2-40B4-BE49-F238E27FC236}">
                  <a16:creationId xmlns:a16="http://schemas.microsoft.com/office/drawing/2014/main" id="{2E94376F-9F50-44E1-9A79-0296F17183CD}"/>
                </a:ext>
              </a:extLst>
            </p:cNvPr>
            <p:cNvSpPr/>
            <p:nvPr/>
          </p:nvSpPr>
          <p:spPr>
            <a:xfrm>
              <a:off x="6738862" y="3926030"/>
              <a:ext cx="2885534" cy="461665"/>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Built-in autoscaling</a:t>
              </a:r>
            </a:p>
          </p:txBody>
        </p:sp>
        <p:sp>
          <p:nvSpPr>
            <p:cNvPr id="42" name="Isosceles Triangle 41">
              <a:extLst>
                <a:ext uri="{FF2B5EF4-FFF2-40B4-BE49-F238E27FC236}">
                  <a16:creationId xmlns:a16="http://schemas.microsoft.com/office/drawing/2014/main" id="{2A8E7D25-3A9E-4A3F-9A96-73BE027045C5}"/>
                </a:ext>
              </a:extLst>
            </p:cNvPr>
            <p:cNvSpPr/>
            <p:nvPr/>
          </p:nvSpPr>
          <p:spPr>
            <a:xfrm rot="5400000">
              <a:off x="6243479" y="4056672"/>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3" name="Group 42" descr="Automated migration with App Service Migration Assistant">
            <a:extLst>
              <a:ext uri="{FF2B5EF4-FFF2-40B4-BE49-F238E27FC236}">
                <a16:creationId xmlns:a16="http://schemas.microsoft.com/office/drawing/2014/main" id="{18F62C6A-6620-406A-83E6-026BE2C22E7D}"/>
              </a:ext>
            </a:extLst>
          </p:cNvPr>
          <p:cNvGrpSpPr/>
          <p:nvPr/>
        </p:nvGrpSpPr>
        <p:grpSpPr>
          <a:xfrm>
            <a:off x="6394068" y="5150804"/>
            <a:ext cx="5216912" cy="830997"/>
            <a:chOff x="6394068" y="5150804"/>
            <a:chExt cx="5216912" cy="830997"/>
          </a:xfrm>
        </p:grpSpPr>
        <p:sp>
          <p:nvSpPr>
            <p:cNvPr id="44" name="Rectangle 43">
              <a:extLst>
                <a:ext uri="{FF2B5EF4-FFF2-40B4-BE49-F238E27FC236}">
                  <a16:creationId xmlns:a16="http://schemas.microsoft.com/office/drawing/2014/main" id="{E9DDE526-5C28-4EDD-ABE9-E877C247D865}"/>
                </a:ext>
              </a:extLst>
            </p:cNvPr>
            <p:cNvSpPr/>
            <p:nvPr/>
          </p:nvSpPr>
          <p:spPr>
            <a:xfrm>
              <a:off x="6738861" y="5150804"/>
              <a:ext cx="4872119" cy="830997"/>
            </a:xfrm>
            <a:prstGeom prst="rect">
              <a:avLst/>
            </a:prstGeom>
          </p:spPr>
          <p:txBody>
            <a:bodyPr wrap="square">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Segoe UI Semibold"/>
                  <a:ea typeface="+mn-ea"/>
                  <a:cs typeface="+mn-cs"/>
                </a:rPr>
                <a:t>Automated migration with App Service Migration Assistant</a:t>
              </a:r>
            </a:p>
          </p:txBody>
        </p:sp>
        <p:sp>
          <p:nvSpPr>
            <p:cNvPr id="45" name="Isosceles Triangle 44">
              <a:extLst>
                <a:ext uri="{FF2B5EF4-FFF2-40B4-BE49-F238E27FC236}">
                  <a16:creationId xmlns:a16="http://schemas.microsoft.com/office/drawing/2014/main" id="{EFA75A8C-3A15-4A17-AA62-B7A2905607BB}"/>
                </a:ext>
              </a:extLst>
            </p:cNvPr>
            <p:cNvSpPr/>
            <p:nvPr/>
          </p:nvSpPr>
          <p:spPr>
            <a:xfrm rot="5400000">
              <a:off x="6253452" y="5478320"/>
              <a:ext cx="447533" cy="16630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a:ea typeface="+mn-ea"/>
                <a:cs typeface="+mn-cs"/>
              </a:endParaRPr>
            </a:p>
          </p:txBody>
        </p:sp>
      </p:grpSp>
      <p:sp>
        <p:nvSpPr>
          <p:cNvPr id="46" name="TextBox 45">
            <a:extLst>
              <a:ext uri="{FF2B5EF4-FFF2-40B4-BE49-F238E27FC236}">
                <a16:creationId xmlns:a16="http://schemas.microsoft.com/office/drawing/2014/main" id="{23AEEF54-83EA-42A1-BA73-2C5FCE85CF11}"/>
              </a:ext>
            </a:extLst>
          </p:cNvPr>
          <p:cNvSpPr txBox="1"/>
          <p:nvPr/>
        </p:nvSpPr>
        <p:spPr>
          <a:xfrm>
            <a:off x="538224" y="3622478"/>
            <a:ext cx="5689259" cy="193899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Scale your web applications </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on-demand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Reduce operational tasks, focus scarce IT resources on higher value work</a:t>
            </a:r>
          </a:p>
        </p:txBody>
      </p:sp>
    </p:spTree>
    <p:extLst>
      <p:ext uri="{BB962C8B-B14F-4D97-AF65-F5344CB8AC3E}">
        <p14:creationId xmlns:p14="http://schemas.microsoft.com/office/powerpoint/2010/main" val="331429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750" fill="hold"/>
                                        <p:tgtEl>
                                          <p:spTgt spid="34"/>
                                        </p:tgtEl>
                                        <p:attrNameLst>
                                          <p:attrName>ppt_x</p:attrName>
                                        </p:attrNameLst>
                                      </p:cBhvr>
                                      <p:tavLst>
                                        <p:tav tm="0">
                                          <p:val>
                                            <p:strVal val="#ppt_x"/>
                                          </p:val>
                                        </p:tav>
                                        <p:tav tm="100000">
                                          <p:val>
                                            <p:strVal val="#ppt_x"/>
                                          </p:val>
                                        </p:tav>
                                      </p:tavLst>
                                    </p:anim>
                                    <p:anim calcmode="lin" valueType="num">
                                      <p:cBhvr additive="base">
                                        <p:cTn id="8" dur="75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750" fill="hold"/>
                                        <p:tgtEl>
                                          <p:spTgt spid="37"/>
                                        </p:tgtEl>
                                        <p:attrNameLst>
                                          <p:attrName>ppt_x</p:attrName>
                                        </p:attrNameLst>
                                      </p:cBhvr>
                                      <p:tavLst>
                                        <p:tav tm="0">
                                          <p:val>
                                            <p:strVal val="#ppt_x"/>
                                          </p:val>
                                        </p:tav>
                                        <p:tav tm="100000">
                                          <p:val>
                                            <p:strVal val="#ppt_x"/>
                                          </p:val>
                                        </p:tav>
                                      </p:tavLst>
                                    </p:anim>
                                    <p:anim calcmode="lin" valueType="num">
                                      <p:cBhvr additive="base">
                                        <p:cTn id="12" dur="75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750" fill="hold"/>
                                        <p:tgtEl>
                                          <p:spTgt spid="40"/>
                                        </p:tgtEl>
                                        <p:attrNameLst>
                                          <p:attrName>ppt_x</p:attrName>
                                        </p:attrNameLst>
                                      </p:cBhvr>
                                      <p:tavLst>
                                        <p:tav tm="0">
                                          <p:val>
                                            <p:strVal val="#ppt_x"/>
                                          </p:val>
                                        </p:tav>
                                        <p:tav tm="100000">
                                          <p:val>
                                            <p:strVal val="#ppt_x"/>
                                          </p:val>
                                        </p:tav>
                                      </p:tavLst>
                                    </p:anim>
                                    <p:anim calcmode="lin" valueType="num">
                                      <p:cBhvr additive="base">
                                        <p:cTn id="16" dur="750" fill="hold"/>
                                        <p:tgtEl>
                                          <p:spTgt spid="4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750" fill="hold"/>
                                        <p:tgtEl>
                                          <p:spTgt spid="43"/>
                                        </p:tgtEl>
                                        <p:attrNameLst>
                                          <p:attrName>ppt_x</p:attrName>
                                        </p:attrNameLst>
                                      </p:cBhvr>
                                      <p:tavLst>
                                        <p:tav tm="0">
                                          <p:val>
                                            <p:strVal val="#ppt_x"/>
                                          </p:val>
                                        </p:tav>
                                        <p:tav tm="100000">
                                          <p:val>
                                            <p:strVal val="#ppt_x"/>
                                          </p:val>
                                        </p:tav>
                                      </p:tavLst>
                                    </p:anim>
                                    <p:anim calcmode="lin" valueType="num">
                                      <p:cBhvr additive="base">
                                        <p:cTn id="20" dur="75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457855" y="337265"/>
            <a:ext cx="11081177" cy="1020602"/>
          </a:xfrm>
        </p:spPr>
        <p:txBody>
          <a:bodyPr/>
          <a:lstStyle/>
          <a:p>
            <a:r>
              <a:rPr lang="en-US">
                <a:solidFill>
                  <a:schemeClr val="accent3"/>
                </a:solidFill>
              </a:rPr>
              <a:t>Azure SQL enables on-demand scale and </a:t>
            </a:r>
            <a:br>
              <a:rPr lang="en-US">
                <a:solidFill>
                  <a:schemeClr val="accent3"/>
                </a:solidFill>
              </a:rPr>
            </a:br>
            <a:r>
              <a:rPr lang="en-US">
                <a:solidFill>
                  <a:schemeClr val="accent3"/>
                </a:solidFill>
              </a:rPr>
              <a:t>operational efficiencies</a:t>
            </a:r>
          </a:p>
        </p:txBody>
      </p:sp>
      <p:sp>
        <p:nvSpPr>
          <p:cNvPr id="34" name="Rectangle 33">
            <a:extLst>
              <a:ext uri="{FF2B5EF4-FFF2-40B4-BE49-F238E27FC236}">
                <a16:creationId xmlns:a16="http://schemas.microsoft.com/office/drawing/2014/main" id="{DBE09068-1C5D-43CD-90BA-B08F8556FFE0}"/>
              </a:ext>
            </a:extLst>
          </p:cNvPr>
          <p:cNvSpPr/>
          <p:nvPr/>
        </p:nvSpPr>
        <p:spPr>
          <a:xfrm>
            <a:off x="8140872" y="3776765"/>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Databas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8140872"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supporting modern cloud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37" name="Rectangle 36">
            <a:extLst>
              <a:ext uri="{FF2B5EF4-FFF2-40B4-BE49-F238E27FC236}">
                <a16:creationId xmlns:a16="http://schemas.microsoft.com/office/drawing/2014/main" id="{E6C7CC21-B68F-48B6-80D4-A6A7D9F2F34C}"/>
              </a:ext>
            </a:extLst>
          </p:cNvPr>
          <p:cNvSpPr/>
          <p:nvPr/>
        </p:nvSpPr>
        <p:spPr>
          <a:xfrm>
            <a:off x="552450"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SQL Server on Azure</a:t>
            </a:r>
            <a:b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b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Virtual Machines</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552451" y="4560650"/>
            <a:ext cx="3503674" cy="954107"/>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mn-cs"/>
              </a:rPr>
              <a:t>Best for lift and shift</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and/or workloads requiring</a:t>
            </a:r>
            <a:br>
              <a:rPr kumimoji="0" lang="en-US" sz="2800" b="0" i="0" u="none" strike="noStrike" kern="0" cap="none" spc="0" normalizeH="0" baseline="-25000" noProof="0">
                <a:ln>
                  <a:noFill/>
                </a:ln>
                <a:solidFill>
                  <a:prstClr val="white"/>
                </a:solidFill>
                <a:effectLst/>
                <a:uLnTx/>
                <a:uFillTx/>
                <a:latin typeface="Segoe UI"/>
                <a:ea typeface="+mn-ea"/>
                <a:cs typeface="+mn-cs"/>
              </a:rPr>
            </a:br>
            <a:r>
              <a:rPr kumimoji="0" lang="en-US" sz="2800" b="0" i="0" u="none" strike="noStrike" kern="0" cap="none" spc="0" normalizeH="0" baseline="-25000" noProof="0">
                <a:ln>
                  <a:noFill/>
                </a:ln>
                <a:solidFill>
                  <a:prstClr val="white"/>
                </a:solidFill>
                <a:effectLst/>
                <a:uLnTx/>
                <a:uFillTx/>
                <a:latin typeface="Segoe UI"/>
                <a:ea typeface="+mn-ea"/>
                <a:cs typeface="+mn-cs"/>
              </a:rPr>
              <a:t>OS-level access</a:t>
            </a:r>
            <a:endParaRPr kumimoji="0" lang="en-US" sz="2800" b="0" i="0" u="none" strike="noStrike" kern="0" cap="none" spc="0" normalizeH="0" baseline="-25000" noProof="0">
              <a:ln>
                <a:noFill/>
              </a:ln>
              <a:solidFill>
                <a:prstClr val="white"/>
              </a:soli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569030" y="5935082"/>
            <a:ext cx="3503674"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IaaS</a:t>
            </a:r>
          </a:p>
        </p:txBody>
      </p:sp>
      <p:sp>
        <p:nvSpPr>
          <p:cNvPr id="16" name="Rectangle 15">
            <a:extLst>
              <a:ext uri="{FF2B5EF4-FFF2-40B4-BE49-F238E27FC236}">
                <a16:creationId xmlns:a16="http://schemas.microsoft.com/office/drawing/2014/main" id="{B1EC080E-2F89-4608-9152-878A553272F7}"/>
              </a:ext>
            </a:extLst>
          </p:cNvPr>
          <p:cNvSpPr/>
          <p:nvPr/>
        </p:nvSpPr>
        <p:spPr>
          <a:xfrm>
            <a:off x="4346661" y="3776766"/>
            <a:ext cx="3503674" cy="677108"/>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Azure SQL</a:t>
            </a:r>
          </a:p>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20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rPr>
              <a:t>Managed Instance</a:t>
            </a:r>
            <a:endParaRPr kumimoji="0" lang="en-US" sz="2400" b="0"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4346661" y="4560650"/>
            <a:ext cx="3503674" cy="666849"/>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Best for modernizing</a:t>
            </a:r>
            <a:b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br>
            <a:r>
              <a:rPr kumimoji="0" lang="en-US" sz="2800" b="0" i="0" u="none" strike="noStrike" kern="0" cap="none" spc="0" normalizeH="0" baseline="-25000" noProof="0">
                <a:ln>
                  <a:noFill/>
                </a:ln>
                <a:solidFill>
                  <a:prstClr val="white"/>
                </a:solidFill>
                <a:effectLst/>
                <a:uLnTx/>
                <a:uFillTx/>
                <a:latin typeface="Segoe UI"/>
                <a:ea typeface="+mn-ea"/>
                <a:cs typeface="Segoe UI Semilight" panose="020B0402040204020203" pitchFamily="34" charset="0"/>
              </a:rPr>
              <a:t>existing apps</a:t>
            </a:r>
            <a:endParaRPr kumimoji="0" lang="en-US" sz="2800" b="0" i="0" u="none" strike="sngStrike" kern="0" cap="none" spc="0" normalizeH="0" baseline="-25000" noProof="0">
              <a:ln>
                <a:noFill/>
              </a:ln>
              <a:solidFill>
                <a:prstClr val="white"/>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4346661" y="5935082"/>
            <a:ext cx="7263817" cy="4795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rPr>
              <a:t>PaaS</a:t>
            </a:r>
          </a:p>
        </p:txBody>
      </p:sp>
      <p:sp>
        <p:nvSpPr>
          <p:cNvPr id="3" name="TextBox 2">
            <a:extLst>
              <a:ext uri="{FF2B5EF4-FFF2-40B4-BE49-F238E27FC236}">
                <a16:creationId xmlns:a16="http://schemas.microsoft.com/office/drawing/2014/main" id="{6A4ACD75-F9CB-4D62-A441-9B330260DC34}"/>
              </a:ext>
            </a:extLst>
          </p:cNvPr>
          <p:cNvSpPr txBox="1"/>
          <p:nvPr/>
        </p:nvSpPr>
        <p:spPr>
          <a:xfrm>
            <a:off x="2125000" y="1767047"/>
            <a:ext cx="7554953" cy="338554"/>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prstClr val="white"/>
                </a:solidFill>
                <a:effectLst/>
                <a:uLnTx/>
                <a:uFillTx/>
                <a:latin typeface="Segoe UI Semibold"/>
                <a:ea typeface="+mn-ea"/>
                <a:cs typeface="Segoe UI" panose="020B0502040204020203" pitchFamily="34" charset="0"/>
              </a:rPr>
              <a:t>Use IaaS and PaaS options as appropriate to your use case </a:t>
            </a:r>
          </a:p>
        </p:txBody>
      </p:sp>
      <p:sp>
        <p:nvSpPr>
          <p:cNvPr id="19" name="Freeform 188">
            <a:extLst>
              <a:ext uri="{FF2B5EF4-FFF2-40B4-BE49-F238E27FC236}">
                <a16:creationId xmlns:a16="http://schemas.microsoft.com/office/drawing/2014/main" id="{B7E6943F-1D67-8145-9772-F5E1F04C362F}"/>
              </a:ext>
              <a:ext uri="{C183D7F6-B498-43B3-948B-1728B52AA6E4}">
                <adec:decorative xmlns:adec="http://schemas.microsoft.com/office/drawing/2017/decorative" xmlns="" val="1"/>
              </a:ext>
            </a:extLst>
          </p:cNvPr>
          <p:cNvSpPr>
            <a:spLocks noChangeAspect="1"/>
          </p:cNvSpPr>
          <p:nvPr/>
        </p:nvSpPr>
        <p:spPr bwMode="auto">
          <a:xfrm>
            <a:off x="9524806" y="2621866"/>
            <a:ext cx="735806" cy="943707"/>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74" b="0" i="0" u="none" strike="noStrike" kern="120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1" name="Group 20">
            <a:extLst>
              <a:ext uri="{FF2B5EF4-FFF2-40B4-BE49-F238E27FC236}">
                <a16:creationId xmlns:a16="http://schemas.microsoft.com/office/drawing/2014/main" id="{9E9B1FBD-CEEA-8C43-9245-21034CC867E1}"/>
              </a:ext>
              <a:ext uri="{C183D7F6-B498-43B3-948B-1728B52AA6E4}">
                <adec:decorative xmlns:adec="http://schemas.microsoft.com/office/drawing/2017/decorative" xmlns="" val="1"/>
              </a:ext>
            </a:extLst>
          </p:cNvPr>
          <p:cNvGrpSpPr>
            <a:grpSpLocks noChangeAspect="1"/>
          </p:cNvGrpSpPr>
          <p:nvPr/>
        </p:nvGrpSpPr>
        <p:grpSpPr>
          <a:xfrm>
            <a:off x="1778993" y="2555892"/>
            <a:ext cx="1050588" cy="966940"/>
            <a:chOff x="9499303" y="4189382"/>
            <a:chExt cx="886033" cy="815488"/>
          </a:xfrm>
          <a:solidFill>
            <a:schemeClr val="accent1"/>
          </a:solidFill>
        </p:grpSpPr>
        <p:sp>
          <p:nvSpPr>
            <p:cNvPr id="22" name="Freeform: Shape 229">
              <a:extLst>
                <a:ext uri="{FF2B5EF4-FFF2-40B4-BE49-F238E27FC236}">
                  <a16:creationId xmlns:a16="http://schemas.microsoft.com/office/drawing/2014/main" id="{B858F9B0-F213-CA4B-9D80-671A5920BC94}"/>
                </a:ext>
              </a:extLst>
            </p:cNvPr>
            <p:cNvSpPr/>
            <p:nvPr/>
          </p:nvSpPr>
          <p:spPr bwMode="auto">
            <a:xfrm>
              <a:off x="9499303" y="4189382"/>
              <a:ext cx="886033" cy="815488"/>
            </a:xfrm>
            <a:custGeom>
              <a:avLst/>
              <a:gdLst>
                <a:gd name="connsiteX0" fmla="*/ 50546 w 886033"/>
                <a:gd name="connsiteY0" fmla="*/ 0 h 815488"/>
                <a:gd name="connsiteX1" fmla="*/ 835487 w 886033"/>
                <a:gd name="connsiteY1" fmla="*/ 0 h 815488"/>
                <a:gd name="connsiteX2" fmla="*/ 886033 w 886033"/>
                <a:gd name="connsiteY2" fmla="*/ 50547 h 815488"/>
                <a:gd name="connsiteX3" fmla="*/ 886033 w 886033"/>
                <a:gd name="connsiteY3" fmla="*/ 596076 h 815488"/>
                <a:gd name="connsiteX4" fmla="*/ 835487 w 886033"/>
                <a:gd name="connsiteY4" fmla="*/ 646623 h 815488"/>
                <a:gd name="connsiteX5" fmla="*/ 569232 w 886033"/>
                <a:gd name="connsiteY5" fmla="*/ 646623 h 815488"/>
                <a:gd name="connsiteX6" fmla="*/ 562260 w 886033"/>
                <a:gd name="connsiteY6" fmla="*/ 664907 h 815488"/>
                <a:gd name="connsiteX7" fmla="*/ 616261 w 886033"/>
                <a:gd name="connsiteY7" fmla="*/ 756266 h 815488"/>
                <a:gd name="connsiteX8" fmla="*/ 645789 w 886033"/>
                <a:gd name="connsiteY8" fmla="*/ 763077 h 815488"/>
                <a:gd name="connsiteX9" fmla="*/ 729605 w 886033"/>
                <a:gd name="connsiteY9" fmla="*/ 763077 h 815488"/>
                <a:gd name="connsiteX10" fmla="*/ 729605 w 886033"/>
                <a:gd name="connsiteY10" fmla="*/ 815488 h 815488"/>
                <a:gd name="connsiteX11" fmla="*/ 156428 w 886033"/>
                <a:gd name="connsiteY11" fmla="*/ 815488 h 815488"/>
                <a:gd name="connsiteX12" fmla="*/ 156428 w 886033"/>
                <a:gd name="connsiteY12" fmla="*/ 763077 h 815488"/>
                <a:gd name="connsiteX13" fmla="*/ 242272 w 886033"/>
                <a:gd name="connsiteY13" fmla="*/ 763077 h 815488"/>
                <a:gd name="connsiteX14" fmla="*/ 264721 w 886033"/>
                <a:gd name="connsiteY14" fmla="*/ 759315 h 815488"/>
                <a:gd name="connsiteX15" fmla="*/ 339092 w 886033"/>
                <a:gd name="connsiteY15" fmla="*/ 661670 h 815488"/>
                <a:gd name="connsiteX16" fmla="*/ 331762 w 886033"/>
                <a:gd name="connsiteY16" fmla="*/ 646623 h 815488"/>
                <a:gd name="connsiteX17" fmla="*/ 50546 w 886033"/>
                <a:gd name="connsiteY17" fmla="*/ 646623 h 815488"/>
                <a:gd name="connsiteX18" fmla="*/ 0 w 886033"/>
                <a:gd name="connsiteY18" fmla="*/ 596076 h 815488"/>
                <a:gd name="connsiteX19" fmla="*/ 0 w 886033"/>
                <a:gd name="connsiteY19" fmla="*/ 50547 h 815488"/>
                <a:gd name="connsiteX20" fmla="*/ 50546 w 886033"/>
                <a:gd name="connsiteY20" fmla="*/ 0 h 815488"/>
                <a:gd name="connsiteX21" fmla="*/ 71909 w 886033"/>
                <a:gd name="connsiteY21" fmla="*/ 68760 h 815488"/>
                <a:gd name="connsiteX22" fmla="*/ 71909 w 886033"/>
                <a:gd name="connsiteY22" fmla="*/ 577863 h 815488"/>
                <a:gd name="connsiteX23" fmla="*/ 138251 w 886033"/>
                <a:gd name="connsiteY23" fmla="*/ 577863 h 815488"/>
                <a:gd name="connsiteX24" fmla="*/ 139213 w 886033"/>
                <a:gd name="connsiteY24" fmla="*/ 577863 h 815488"/>
                <a:gd name="connsiteX25" fmla="*/ 813953 w 886033"/>
                <a:gd name="connsiteY25" fmla="*/ 577863 h 815488"/>
                <a:gd name="connsiteX26" fmla="*/ 813953 w 886033"/>
                <a:gd name="connsiteY26" fmla="*/ 68760 h 815488"/>
                <a:gd name="connsiteX27" fmla="*/ 758767 w 886033"/>
                <a:gd name="connsiteY27" fmla="*/ 68760 h 815488"/>
                <a:gd name="connsiteX28" fmla="*/ 71909 w 886033"/>
                <a:gd name="connsiteY28" fmla="*/ 68760 h 81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6033" h="815488">
                  <a:moveTo>
                    <a:pt x="50546" y="0"/>
                  </a:moveTo>
                  <a:lnTo>
                    <a:pt x="835487" y="0"/>
                  </a:lnTo>
                  <a:cubicBezTo>
                    <a:pt x="863403" y="0"/>
                    <a:pt x="886033" y="22631"/>
                    <a:pt x="886033" y="50547"/>
                  </a:cubicBezTo>
                  <a:lnTo>
                    <a:pt x="886033" y="596076"/>
                  </a:lnTo>
                  <a:cubicBezTo>
                    <a:pt x="886033" y="623992"/>
                    <a:pt x="863403" y="646623"/>
                    <a:pt x="835487" y="646623"/>
                  </a:cubicBezTo>
                  <a:lnTo>
                    <a:pt x="569232" y="646623"/>
                  </a:lnTo>
                  <a:lnTo>
                    <a:pt x="562260" y="664907"/>
                  </a:lnTo>
                  <a:cubicBezTo>
                    <a:pt x="551378" y="702735"/>
                    <a:pt x="563218" y="738532"/>
                    <a:pt x="616261" y="756266"/>
                  </a:cubicBezTo>
                  <a:lnTo>
                    <a:pt x="645789" y="763077"/>
                  </a:lnTo>
                  <a:lnTo>
                    <a:pt x="729605" y="763077"/>
                  </a:lnTo>
                  <a:lnTo>
                    <a:pt x="729605" y="815488"/>
                  </a:lnTo>
                  <a:lnTo>
                    <a:pt x="156428" y="815488"/>
                  </a:lnTo>
                  <a:lnTo>
                    <a:pt x="156428" y="763077"/>
                  </a:lnTo>
                  <a:lnTo>
                    <a:pt x="242272" y="763077"/>
                  </a:lnTo>
                  <a:lnTo>
                    <a:pt x="264721" y="759315"/>
                  </a:lnTo>
                  <a:cubicBezTo>
                    <a:pt x="349129" y="740711"/>
                    <a:pt x="352063" y="695720"/>
                    <a:pt x="339092" y="661670"/>
                  </a:cubicBezTo>
                  <a:lnTo>
                    <a:pt x="331762" y="646623"/>
                  </a:lnTo>
                  <a:lnTo>
                    <a:pt x="50546" y="646623"/>
                  </a:lnTo>
                  <a:cubicBezTo>
                    <a:pt x="22630" y="646623"/>
                    <a:pt x="0" y="623992"/>
                    <a:pt x="0" y="596076"/>
                  </a:cubicBezTo>
                  <a:lnTo>
                    <a:pt x="0" y="50547"/>
                  </a:lnTo>
                  <a:cubicBezTo>
                    <a:pt x="0" y="22631"/>
                    <a:pt x="22630" y="0"/>
                    <a:pt x="50546" y="0"/>
                  </a:cubicBezTo>
                  <a:close/>
                  <a:moveTo>
                    <a:pt x="71909" y="68760"/>
                  </a:moveTo>
                  <a:lnTo>
                    <a:pt x="71909" y="577863"/>
                  </a:lnTo>
                  <a:lnTo>
                    <a:pt x="138251" y="577863"/>
                  </a:lnTo>
                  <a:lnTo>
                    <a:pt x="139213" y="577863"/>
                  </a:lnTo>
                  <a:lnTo>
                    <a:pt x="813953" y="577863"/>
                  </a:lnTo>
                  <a:lnTo>
                    <a:pt x="813953" y="68760"/>
                  </a:lnTo>
                  <a:lnTo>
                    <a:pt x="758767" y="68760"/>
                  </a:lnTo>
                  <a:lnTo>
                    <a:pt x="71909" y="6876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Shape 230">
              <a:extLst>
                <a:ext uri="{FF2B5EF4-FFF2-40B4-BE49-F238E27FC236}">
                  <a16:creationId xmlns:a16="http://schemas.microsoft.com/office/drawing/2014/main" id="{8C315213-49CF-194A-94E0-00DED0891BF6}"/>
                </a:ext>
              </a:extLst>
            </p:cNvPr>
            <p:cNvSpPr/>
            <p:nvPr/>
          </p:nvSpPr>
          <p:spPr bwMode="auto">
            <a:xfrm>
              <a:off x="9799384" y="4346546"/>
              <a:ext cx="288344" cy="332295"/>
            </a:xfrm>
            <a:custGeom>
              <a:avLst/>
              <a:gdLst>
                <a:gd name="connsiteX0" fmla="*/ 288257 w 288344"/>
                <a:gd name="connsiteY0" fmla="*/ 105876 h 332295"/>
                <a:gd name="connsiteX1" fmla="*/ 288344 w 288344"/>
                <a:gd name="connsiteY1" fmla="*/ 256872 h 332295"/>
                <a:gd name="connsiteX2" fmla="*/ 157533 w 288344"/>
                <a:gd name="connsiteY2" fmla="*/ 332295 h 332295"/>
                <a:gd name="connsiteX3" fmla="*/ 157446 w 288344"/>
                <a:gd name="connsiteY3" fmla="*/ 181299 h 332295"/>
                <a:gd name="connsiteX4" fmla="*/ 87 w 288344"/>
                <a:gd name="connsiteY4" fmla="*/ 105876 h 332295"/>
                <a:gd name="connsiteX5" fmla="*/ 130898 w 288344"/>
                <a:gd name="connsiteY5" fmla="*/ 181299 h 332295"/>
                <a:gd name="connsiteX6" fmla="*/ 130811 w 288344"/>
                <a:gd name="connsiteY6" fmla="*/ 332295 h 332295"/>
                <a:gd name="connsiteX7" fmla="*/ 0 w 288344"/>
                <a:gd name="connsiteY7" fmla="*/ 256872 h 332295"/>
                <a:gd name="connsiteX8" fmla="*/ 142314 w 288344"/>
                <a:gd name="connsiteY8" fmla="*/ 0 h 332295"/>
                <a:gd name="connsiteX9" fmla="*/ 273038 w 288344"/>
                <a:gd name="connsiteY9" fmla="*/ 74943 h 332295"/>
                <a:gd name="connsiteX10" fmla="*/ 142314 w 288344"/>
                <a:gd name="connsiteY10" fmla="*/ 149886 h 332295"/>
                <a:gd name="connsiteX11" fmla="*/ 11591 w 288344"/>
                <a:gd name="connsiteY11" fmla="*/ 74943 h 33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344" h="332295">
                  <a:moveTo>
                    <a:pt x="288257" y="105876"/>
                  </a:moveTo>
                  <a:lnTo>
                    <a:pt x="288344" y="256872"/>
                  </a:lnTo>
                  <a:lnTo>
                    <a:pt x="157533" y="332295"/>
                  </a:lnTo>
                  <a:lnTo>
                    <a:pt x="157446" y="181299"/>
                  </a:lnTo>
                  <a:close/>
                  <a:moveTo>
                    <a:pt x="87" y="105876"/>
                  </a:moveTo>
                  <a:lnTo>
                    <a:pt x="130898" y="181299"/>
                  </a:lnTo>
                  <a:lnTo>
                    <a:pt x="130811" y="332295"/>
                  </a:lnTo>
                  <a:lnTo>
                    <a:pt x="0" y="256872"/>
                  </a:lnTo>
                  <a:close/>
                  <a:moveTo>
                    <a:pt x="142314" y="0"/>
                  </a:moveTo>
                  <a:lnTo>
                    <a:pt x="273038" y="74943"/>
                  </a:lnTo>
                  <a:lnTo>
                    <a:pt x="142314" y="149886"/>
                  </a:lnTo>
                  <a:lnTo>
                    <a:pt x="11591" y="7494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E8BFF6C6-6F70-ED42-8D6E-BCF4F41D4368}"/>
              </a:ext>
              <a:ext uri="{C183D7F6-B498-43B3-948B-1728B52AA6E4}">
                <adec:decorative xmlns:adec="http://schemas.microsoft.com/office/drawing/2017/decorative" xmlns="" val="1"/>
              </a:ext>
            </a:extLst>
          </p:cNvPr>
          <p:cNvGrpSpPr/>
          <p:nvPr/>
        </p:nvGrpSpPr>
        <p:grpSpPr>
          <a:xfrm>
            <a:off x="5599268" y="2555891"/>
            <a:ext cx="998460" cy="966942"/>
            <a:chOff x="7345179" y="2848430"/>
            <a:chExt cx="1086727" cy="1052424"/>
          </a:xfrm>
        </p:grpSpPr>
        <p:sp>
          <p:nvSpPr>
            <p:cNvPr id="6" name="Rounded Rectangle 5">
              <a:extLst>
                <a:ext uri="{FF2B5EF4-FFF2-40B4-BE49-F238E27FC236}">
                  <a16:creationId xmlns:a16="http://schemas.microsoft.com/office/drawing/2014/main" id="{9A452230-DB2D-5847-8CA6-25B84F5E7760}"/>
                </a:ext>
              </a:extLst>
            </p:cNvPr>
            <p:cNvSpPr/>
            <p:nvPr/>
          </p:nvSpPr>
          <p:spPr bwMode="auto">
            <a:xfrm>
              <a:off x="7345179" y="2848430"/>
              <a:ext cx="596321" cy="1052423"/>
            </a:xfrm>
            <a:prstGeom prst="roundRect">
              <a:avLst>
                <a:gd name="adj" fmla="val 931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D0F8FA00-CA04-C24C-9A00-378C354B20B4}"/>
                </a:ext>
              </a:extLst>
            </p:cNvPr>
            <p:cNvCxnSpPr/>
            <p:nvPr/>
          </p:nvCxnSpPr>
          <p:spPr>
            <a:xfrm>
              <a:off x="7490565" y="30387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B0DA5DA-AE5D-9D4D-A42C-6FBCBBAD322B}"/>
                </a:ext>
              </a:extLst>
            </p:cNvPr>
            <p:cNvCxnSpPr/>
            <p:nvPr/>
          </p:nvCxnSpPr>
          <p:spPr>
            <a:xfrm>
              <a:off x="7490565" y="3191131"/>
              <a:ext cx="338201" cy="0"/>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DE9479F-71B7-964C-9123-AB0A188A4CEA}"/>
                </a:ext>
              </a:extLst>
            </p:cNvPr>
            <p:cNvSpPr>
              <a:spLocks noChangeAspect="1"/>
            </p:cNvSpPr>
            <p:nvPr/>
          </p:nvSpPr>
          <p:spPr bwMode="auto">
            <a:xfrm>
              <a:off x="7442517" y="2998202"/>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F2E496E3-0D9E-4643-8512-E690CF68B3BB}"/>
                </a:ext>
              </a:extLst>
            </p:cNvPr>
            <p:cNvSpPr>
              <a:spLocks noChangeAspect="1"/>
            </p:cNvSpPr>
            <p:nvPr/>
          </p:nvSpPr>
          <p:spPr bwMode="auto">
            <a:xfrm>
              <a:off x="7442517" y="3147539"/>
              <a:ext cx="91440" cy="914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46">
              <a:extLst>
                <a:ext uri="{FF2B5EF4-FFF2-40B4-BE49-F238E27FC236}">
                  <a16:creationId xmlns:a16="http://schemas.microsoft.com/office/drawing/2014/main" id="{73633A77-2058-9447-9A05-453C320167F0}"/>
                </a:ext>
              </a:extLst>
            </p:cNvPr>
            <p:cNvSpPr>
              <a:spLocks noChangeAspect="1"/>
            </p:cNvSpPr>
            <p:nvPr/>
          </p:nvSpPr>
          <p:spPr bwMode="auto">
            <a:xfrm>
              <a:off x="7576472" y="3359100"/>
              <a:ext cx="855434" cy="54175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0" name="TextBox 9">
              <a:extLst>
                <a:ext uri="{FF2B5EF4-FFF2-40B4-BE49-F238E27FC236}">
                  <a16:creationId xmlns:a16="http://schemas.microsoft.com/office/drawing/2014/main" id="{CA7E2061-BC16-3041-BCB4-D617F4ECF2D0}"/>
                </a:ext>
              </a:extLst>
            </p:cNvPr>
            <p:cNvSpPr txBox="1"/>
            <p:nvPr/>
          </p:nvSpPr>
          <p:spPr>
            <a:xfrm>
              <a:off x="7779643" y="3544236"/>
              <a:ext cx="5209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SQL</a:t>
              </a:r>
            </a:p>
          </p:txBody>
        </p:sp>
      </p:grpSp>
    </p:spTree>
    <p:extLst>
      <p:ext uri="{BB962C8B-B14F-4D97-AF65-F5344CB8AC3E}">
        <p14:creationId xmlns:p14="http://schemas.microsoft.com/office/powerpoint/2010/main" val="4195436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9F2570-CEC4-4DC0-81A0-C01B55E47CD6}"/>
              </a:ext>
            </a:extLst>
          </p:cNvPr>
          <p:cNvSpPr>
            <a:spLocks noGrp="1"/>
          </p:cNvSpPr>
          <p:nvPr>
            <p:ph type="title"/>
          </p:nvPr>
        </p:nvSpPr>
        <p:spPr>
          <a:xfrm>
            <a:off x="563369" y="473236"/>
            <a:ext cx="11081177" cy="689293"/>
          </a:xfrm>
        </p:spPr>
        <p:txBody>
          <a:bodyPr/>
          <a:lstStyle/>
          <a:p>
            <a:r>
              <a:rPr lang="en-IN">
                <a:solidFill>
                  <a:schemeClr val="accent3"/>
                </a:solidFill>
              </a:rPr>
              <a:t>Common migration projects</a:t>
            </a:r>
          </a:p>
        </p:txBody>
      </p:sp>
      <p:sp>
        <p:nvSpPr>
          <p:cNvPr id="5" name="Rectangle 4">
            <a:extLst>
              <a:ext uri="{FF2B5EF4-FFF2-40B4-BE49-F238E27FC236}">
                <a16:creationId xmlns:a16="http://schemas.microsoft.com/office/drawing/2014/main" id="{C096DEAD-DB50-4305-B33E-C6A05AD48121}"/>
              </a:ext>
            </a:extLst>
          </p:cNvPr>
          <p:cNvSpPr/>
          <p:nvPr/>
        </p:nvSpPr>
        <p:spPr>
          <a:xfrm>
            <a:off x="563368"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indows Server</a:t>
            </a:r>
          </a:p>
        </p:txBody>
      </p:sp>
      <p:sp>
        <p:nvSpPr>
          <p:cNvPr id="49" name="Rectangle 48">
            <a:extLst>
              <a:ext uri="{FF2B5EF4-FFF2-40B4-BE49-F238E27FC236}">
                <a16:creationId xmlns:a16="http://schemas.microsoft.com/office/drawing/2014/main" id="{A859AF8D-9E21-4C12-A723-037CAFD317CB}"/>
              </a:ext>
            </a:extLst>
          </p:cNvPr>
          <p:cNvSpPr/>
          <p:nvPr/>
        </p:nvSpPr>
        <p:spPr>
          <a:xfrm>
            <a:off x="3174426"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QL Server</a:t>
            </a:r>
          </a:p>
        </p:txBody>
      </p:sp>
      <p:sp>
        <p:nvSpPr>
          <p:cNvPr id="50" name="Rectangle 49">
            <a:extLst>
              <a:ext uri="{FF2B5EF4-FFF2-40B4-BE49-F238E27FC236}">
                <a16:creationId xmlns:a16="http://schemas.microsoft.com/office/drawing/2014/main" id="{48380450-0C2D-430D-8DB1-D17A9664784F}"/>
              </a:ext>
            </a:extLst>
          </p:cNvPr>
          <p:cNvSpPr/>
          <p:nvPr/>
        </p:nvSpPr>
        <p:spPr>
          <a:xfrm>
            <a:off x="5785484" y="1819374"/>
            <a:ext cx="3221576" cy="4922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Linux &amp; open source databases</a:t>
            </a:r>
          </a:p>
        </p:txBody>
      </p:sp>
      <p:sp>
        <p:nvSpPr>
          <p:cNvPr id="51" name="Rectangle 50">
            <a:extLst>
              <a:ext uri="{FF2B5EF4-FFF2-40B4-BE49-F238E27FC236}">
                <a16:creationId xmlns:a16="http://schemas.microsoft.com/office/drawing/2014/main" id="{95CB10C3-6D86-4EB9-B80D-30430C737612}"/>
              </a:ext>
            </a:extLst>
          </p:cNvPr>
          <p:cNvSpPr/>
          <p:nvPr/>
        </p:nvSpPr>
        <p:spPr>
          <a:xfrm>
            <a:off x="9057801" y="1809946"/>
            <a:ext cx="2560320" cy="5016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DevTest</a:t>
            </a:r>
          </a:p>
        </p:txBody>
      </p:sp>
      <p:pic>
        <p:nvPicPr>
          <p:cNvPr id="41" name="Picture 40" descr="Server icon">
            <a:extLst>
              <a:ext uri="{FF2B5EF4-FFF2-40B4-BE49-F238E27FC236}">
                <a16:creationId xmlns:a16="http://schemas.microsoft.com/office/drawing/2014/main" id="{149579CF-B477-4C15-9B4F-9F4A25821776}"/>
              </a:ext>
            </a:extLst>
          </p:cNvPr>
          <p:cNvPicPr>
            <a:picLocks noChangeAspect="1"/>
          </p:cNvPicPr>
          <p:nvPr/>
        </p:nvPicPr>
        <p:blipFill>
          <a:blip r:embed="rId3"/>
          <a:stretch>
            <a:fillRect/>
          </a:stretch>
        </p:blipFill>
        <p:spPr>
          <a:xfrm>
            <a:off x="1488833" y="2777129"/>
            <a:ext cx="632460" cy="815340"/>
          </a:xfrm>
          <a:prstGeom prst="rect">
            <a:avLst/>
          </a:prstGeom>
        </p:spPr>
      </p:pic>
      <p:pic>
        <p:nvPicPr>
          <p:cNvPr id="58" name="Picture 57" descr="SQL database">
            <a:extLst>
              <a:ext uri="{FF2B5EF4-FFF2-40B4-BE49-F238E27FC236}">
                <a16:creationId xmlns:a16="http://schemas.microsoft.com/office/drawing/2014/main" id="{7002989D-6FD1-4E92-8A9E-DF36F863889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985534" y="2752319"/>
            <a:ext cx="833936" cy="806231"/>
          </a:xfrm>
          <a:prstGeom prst="rect">
            <a:avLst/>
          </a:prstGeom>
          <a:noFill/>
        </p:spPr>
      </p:pic>
      <p:pic>
        <p:nvPicPr>
          <p:cNvPr id="76" name="Picture 75" descr="Linux logo">
            <a:extLst>
              <a:ext uri="{FF2B5EF4-FFF2-40B4-BE49-F238E27FC236}">
                <a16:creationId xmlns:a16="http://schemas.microsoft.com/office/drawing/2014/main" id="{F8507137-94F9-470B-906F-00BAAC6EC96E}"/>
              </a:ext>
            </a:extLst>
          </p:cNvPr>
          <p:cNvPicPr>
            <a:picLocks noChangeAspect="1"/>
          </p:cNvPicPr>
          <p:nvPr/>
        </p:nvPicPr>
        <p:blipFill>
          <a:blip r:embed="rId5">
            <a:clrChange>
              <a:clrFrom>
                <a:srgbClr val="FFFFFF"/>
              </a:clrFrom>
              <a:clrTo>
                <a:srgbClr val="FFFFFF">
                  <a:alpha val="0"/>
                </a:srgbClr>
              </a:clrTo>
            </a:clrChange>
            <a:lum bright="70000" contrast="-70000"/>
          </a:blip>
          <a:stretch>
            <a:fillRect/>
          </a:stretch>
        </p:blipFill>
        <p:spPr>
          <a:xfrm>
            <a:off x="6449783" y="2787121"/>
            <a:ext cx="667118" cy="805576"/>
          </a:xfrm>
          <a:prstGeom prst="rect">
            <a:avLst/>
          </a:prstGeom>
        </p:spPr>
      </p:pic>
      <p:sp>
        <p:nvSpPr>
          <p:cNvPr id="46" name="TextBox 45" descr="Azure Database for MySQL">
            <a:extLst>
              <a:ext uri="{FF2B5EF4-FFF2-40B4-BE49-F238E27FC236}">
                <a16:creationId xmlns:a16="http://schemas.microsoft.com/office/drawing/2014/main" id="{67AAB229-47FD-435F-9ACB-BC4579A89C9F}"/>
              </a:ext>
            </a:extLst>
          </p:cNvPr>
          <p:cNvSpPr txBox="1"/>
          <p:nvPr/>
        </p:nvSpPr>
        <p:spPr>
          <a:xfrm>
            <a:off x="7397118" y="2690987"/>
            <a:ext cx="388354" cy="481536"/>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bg1"/>
          </a:solidFill>
          <a:ln>
            <a:noFill/>
          </a:ln>
          <a:effec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egoe UI Black" charset="0"/>
              <a:ea typeface="Segoe UI Black" charset="0"/>
              <a:cs typeface="Segoe UI Black" charset="0"/>
            </a:endParaRPr>
          </a:p>
        </p:txBody>
      </p:sp>
      <p:pic>
        <p:nvPicPr>
          <p:cNvPr id="48" name="Picture 47" descr="Azure Database for Post-gress SQL">
            <a:extLst>
              <a:ext uri="{FF2B5EF4-FFF2-40B4-BE49-F238E27FC236}">
                <a16:creationId xmlns:a16="http://schemas.microsoft.com/office/drawing/2014/main" id="{2A753050-056B-4EFA-A7DE-ED02C1858CD2}"/>
              </a:ext>
            </a:extLst>
          </p:cNvPr>
          <p:cNvPicPr>
            <a:picLocks noChangeAspect="1"/>
          </p:cNvPicPr>
          <p:nvPr/>
        </p:nvPicPr>
        <p:blipFill>
          <a:blip r:embed="rId6"/>
          <a:stretch>
            <a:fillRect/>
          </a:stretch>
        </p:blipFill>
        <p:spPr>
          <a:xfrm>
            <a:off x="7954408" y="2688908"/>
            <a:ext cx="388620" cy="480060"/>
          </a:xfrm>
          <a:prstGeom prst="rect">
            <a:avLst/>
          </a:prstGeom>
        </p:spPr>
      </p:pic>
      <p:pic>
        <p:nvPicPr>
          <p:cNvPr id="52" name="Picture 51" descr="Maria Database">
            <a:extLst>
              <a:ext uri="{FF2B5EF4-FFF2-40B4-BE49-F238E27FC236}">
                <a16:creationId xmlns:a16="http://schemas.microsoft.com/office/drawing/2014/main" id="{D36B9676-681A-42DA-BB85-DD3E5E40C91F}"/>
              </a:ext>
            </a:extLst>
          </p:cNvPr>
          <p:cNvPicPr>
            <a:picLocks noChangeAspect="1"/>
          </p:cNvPicPr>
          <p:nvPr/>
        </p:nvPicPr>
        <p:blipFill>
          <a:blip r:embed="rId7"/>
          <a:stretch>
            <a:fillRect/>
          </a:stretch>
        </p:blipFill>
        <p:spPr>
          <a:xfrm>
            <a:off x="7649994" y="3231084"/>
            <a:ext cx="388620" cy="480060"/>
          </a:xfrm>
          <a:prstGeom prst="rect">
            <a:avLst/>
          </a:prstGeom>
        </p:spPr>
      </p:pic>
      <p:sp>
        <p:nvSpPr>
          <p:cNvPr id="81" name="Beaker_F196" title="Icon of a scientific flask with liquid in it">
            <a:extLst>
              <a:ext uri="{FF2B5EF4-FFF2-40B4-BE49-F238E27FC236}">
                <a16:creationId xmlns:a16="http://schemas.microsoft.com/office/drawing/2014/main" id="{F05A3FF4-D06C-452C-8E4B-E8CC2AE44946}"/>
              </a:ext>
            </a:extLst>
          </p:cNvPr>
          <p:cNvSpPr>
            <a:spLocks noChangeAspect="1" noEditPoints="1"/>
          </p:cNvSpPr>
          <p:nvPr/>
        </p:nvSpPr>
        <p:spPr bwMode="auto">
          <a:xfrm>
            <a:off x="10016615" y="2748255"/>
            <a:ext cx="571328" cy="660133"/>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09403DB6-D3CA-473F-81BA-B7FB22FD720A}"/>
              </a:ext>
            </a:extLst>
          </p:cNvPr>
          <p:cNvSpPr/>
          <p:nvPr/>
        </p:nvSpPr>
        <p:spPr>
          <a:xfrm>
            <a:off x="553941"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Web apps</a:t>
            </a:r>
          </a:p>
        </p:txBody>
      </p:sp>
      <p:sp>
        <p:nvSpPr>
          <p:cNvPr id="55" name="Rectangle 54">
            <a:extLst>
              <a:ext uri="{FF2B5EF4-FFF2-40B4-BE49-F238E27FC236}">
                <a16:creationId xmlns:a16="http://schemas.microsoft.com/office/drawing/2014/main" id="{28586589-F6FB-415B-A273-2D24281D4BB4}"/>
              </a:ext>
            </a:extLst>
          </p:cNvPr>
          <p:cNvSpPr/>
          <p:nvPr/>
        </p:nvSpPr>
        <p:spPr>
          <a:xfrm>
            <a:off x="3164999" y="4411745"/>
            <a:ext cx="2560320" cy="470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AP</a:t>
            </a:r>
          </a:p>
        </p:txBody>
      </p:sp>
      <p:sp>
        <p:nvSpPr>
          <p:cNvPr id="56" name="Rectangle 55">
            <a:extLst>
              <a:ext uri="{FF2B5EF4-FFF2-40B4-BE49-F238E27FC236}">
                <a16:creationId xmlns:a16="http://schemas.microsoft.com/office/drawing/2014/main" id="{A9D5DC8C-9735-4A20-AB15-1D2D4D6877F8}"/>
              </a:ext>
            </a:extLst>
          </p:cNvPr>
          <p:cNvSpPr/>
          <p:nvPr/>
        </p:nvSpPr>
        <p:spPr>
          <a:xfrm>
            <a:off x="5776057" y="4411744"/>
            <a:ext cx="3221576" cy="470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Specialized workloads</a:t>
            </a:r>
          </a:p>
        </p:txBody>
      </p:sp>
      <p:sp>
        <p:nvSpPr>
          <p:cNvPr id="57" name="Rectangle 56">
            <a:extLst>
              <a:ext uri="{FF2B5EF4-FFF2-40B4-BE49-F238E27FC236}">
                <a16:creationId xmlns:a16="http://schemas.microsoft.com/office/drawing/2014/main" id="{0720D2DA-1EA4-4D8A-9DD3-D6C1E6B97BDD}"/>
              </a:ext>
            </a:extLst>
          </p:cNvPr>
          <p:cNvSpPr/>
          <p:nvPr/>
        </p:nvSpPr>
        <p:spPr>
          <a:xfrm>
            <a:off x="9048374" y="4402318"/>
            <a:ext cx="2560320" cy="479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50E6FF"/>
                </a:solidFill>
                <a:effectLst/>
                <a:uLnTx/>
                <a:uFillTx/>
                <a:latin typeface="Segoe UI Semibold"/>
                <a:ea typeface="+mn-ea"/>
                <a:cs typeface="+mn-cs"/>
              </a:rPr>
              <a:t>VDI</a:t>
            </a:r>
          </a:p>
        </p:txBody>
      </p:sp>
      <p:pic>
        <p:nvPicPr>
          <p:cNvPr id="53" name="Picture 52" descr="Graphic of Virtual machine and globe">
            <a:extLst>
              <a:ext uri="{FF2B5EF4-FFF2-40B4-BE49-F238E27FC236}">
                <a16:creationId xmlns:a16="http://schemas.microsoft.com/office/drawing/2014/main" id="{2258C4B5-AAB8-4638-8458-C06CF086CB14}"/>
              </a:ext>
            </a:extLst>
          </p:cNvPr>
          <p:cNvPicPr>
            <a:picLocks noChangeAspect="1"/>
          </p:cNvPicPr>
          <p:nvPr/>
        </p:nvPicPr>
        <p:blipFill>
          <a:blip r:embed="rId8"/>
          <a:stretch>
            <a:fillRect/>
          </a:stretch>
        </p:blipFill>
        <p:spPr>
          <a:xfrm>
            <a:off x="1290952" y="5187105"/>
            <a:ext cx="1089660" cy="944880"/>
          </a:xfrm>
          <a:prstGeom prst="rect">
            <a:avLst/>
          </a:prstGeom>
        </p:spPr>
      </p:pic>
      <p:sp>
        <p:nvSpPr>
          <p:cNvPr id="80" name="PC1_E977" title="Icon of a desktop PC">
            <a:extLst>
              <a:ext uri="{FF2B5EF4-FFF2-40B4-BE49-F238E27FC236}">
                <a16:creationId xmlns:a16="http://schemas.microsoft.com/office/drawing/2014/main" id="{70EB09AA-D934-41C8-B54B-02ACE7A00A4A}"/>
              </a:ext>
            </a:extLst>
          </p:cNvPr>
          <p:cNvSpPr>
            <a:spLocks noChangeAspect="1" noEditPoints="1"/>
          </p:cNvSpPr>
          <p:nvPr/>
        </p:nvSpPr>
        <p:spPr bwMode="auto">
          <a:xfrm>
            <a:off x="9871530" y="5359268"/>
            <a:ext cx="914008" cy="73149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232C1BF1-2ABD-450A-9E00-26614C514A1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76384A-BF72-4EC3-9EB1-950545506B9E}" type="slidenum">
              <a:rPr kumimoji="0" lang="en-IN" sz="800" b="0" i="0" u="none" strike="noStrike" kern="1200" cap="none" spc="0" normalizeH="0" baseline="0" noProof="0" smtClean="0">
                <a:ln>
                  <a:noFill/>
                </a:ln>
                <a:solidFill>
                  <a:srgbClr val="282828"/>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800" b="0" i="0" u="none" strike="noStrike" kern="1200" cap="none" spc="0" normalizeH="0" baseline="0" noProof="0">
              <a:ln>
                <a:noFill/>
              </a:ln>
              <a:solidFill>
                <a:srgbClr val="282828"/>
              </a:solidFill>
              <a:effectLst/>
              <a:uLnTx/>
              <a:uFillTx/>
              <a:latin typeface="Segoe UI"/>
              <a:ea typeface="+mn-ea"/>
              <a:cs typeface="+mn-cs"/>
            </a:endParaRPr>
          </a:p>
        </p:txBody>
      </p:sp>
      <p:sp>
        <p:nvSpPr>
          <p:cNvPr id="7" name="TextBox 6">
            <a:extLst>
              <a:ext uri="{FF2B5EF4-FFF2-40B4-BE49-F238E27FC236}">
                <a16:creationId xmlns:a16="http://schemas.microsoft.com/office/drawing/2014/main" id="{AEE17E7F-71B3-40C7-A330-D1226D06E4AE}"/>
              </a:ext>
            </a:extLst>
          </p:cNvPr>
          <p:cNvSpPr txBox="1"/>
          <p:nvPr/>
        </p:nvSpPr>
        <p:spPr>
          <a:xfrm>
            <a:off x="4239082" y="5222418"/>
            <a:ext cx="451086" cy="276999"/>
          </a:xfrm>
          <a:prstGeom prst="rect">
            <a:avLst/>
          </a:prstGeom>
          <a:noFill/>
        </p:spPr>
        <p:txBody>
          <a:bodyPr wrap="square" lIns="0" tIns="0" rIns="0" bIns="0" rtlCol="0">
            <a:spAutoFit/>
          </a:bodyPr>
          <a:lstStyle/>
          <a:p>
            <a:pPr algn="l"/>
            <a:r>
              <a:rPr lang="en-US" b="1" dirty="0">
                <a:solidFill>
                  <a:schemeClr val="bg1"/>
                </a:solidFill>
              </a:rPr>
              <a:t>SAP</a:t>
            </a:r>
          </a:p>
        </p:txBody>
      </p:sp>
      <p:sp>
        <p:nvSpPr>
          <p:cNvPr id="8" name="TextBox 7">
            <a:extLst>
              <a:ext uri="{FF2B5EF4-FFF2-40B4-BE49-F238E27FC236}">
                <a16:creationId xmlns:a16="http://schemas.microsoft.com/office/drawing/2014/main" id="{54F30AA4-3984-48B8-B9EB-AA734CA7978E}"/>
              </a:ext>
            </a:extLst>
          </p:cNvPr>
          <p:cNvSpPr txBox="1"/>
          <p:nvPr/>
        </p:nvSpPr>
        <p:spPr>
          <a:xfrm>
            <a:off x="6098561" y="5164922"/>
            <a:ext cx="963419" cy="276999"/>
          </a:xfrm>
          <a:prstGeom prst="rect">
            <a:avLst/>
          </a:prstGeom>
          <a:noFill/>
        </p:spPr>
        <p:txBody>
          <a:bodyPr wrap="square" lIns="0" tIns="0" rIns="0" bIns="0" rtlCol="0">
            <a:spAutoFit/>
          </a:bodyPr>
          <a:lstStyle/>
          <a:p>
            <a:pPr algn="l"/>
            <a:r>
              <a:rPr lang="en-US" b="1" dirty="0">
                <a:solidFill>
                  <a:schemeClr val="bg1"/>
                </a:solidFill>
              </a:rPr>
              <a:t>VMware</a:t>
            </a:r>
          </a:p>
        </p:txBody>
      </p:sp>
      <p:sp>
        <p:nvSpPr>
          <p:cNvPr id="9" name="TextBox 8">
            <a:extLst>
              <a:ext uri="{FF2B5EF4-FFF2-40B4-BE49-F238E27FC236}">
                <a16:creationId xmlns:a16="http://schemas.microsoft.com/office/drawing/2014/main" id="{996F0E9F-859C-455B-A55F-B723A39B3CF2}"/>
              </a:ext>
            </a:extLst>
          </p:cNvPr>
          <p:cNvSpPr txBox="1"/>
          <p:nvPr/>
        </p:nvSpPr>
        <p:spPr>
          <a:xfrm>
            <a:off x="7660461" y="5165174"/>
            <a:ext cx="895400" cy="276999"/>
          </a:xfrm>
          <a:prstGeom prst="rect">
            <a:avLst/>
          </a:prstGeom>
          <a:noFill/>
        </p:spPr>
        <p:txBody>
          <a:bodyPr wrap="square" lIns="0" tIns="0" rIns="0" bIns="0" rtlCol="0">
            <a:spAutoFit/>
          </a:bodyPr>
          <a:lstStyle/>
          <a:p>
            <a:pPr algn="l"/>
            <a:r>
              <a:rPr lang="en-US" b="1" dirty="0">
                <a:solidFill>
                  <a:schemeClr val="bg1"/>
                </a:solidFill>
              </a:rPr>
              <a:t>NetApp</a:t>
            </a:r>
          </a:p>
        </p:txBody>
      </p:sp>
      <p:sp>
        <p:nvSpPr>
          <p:cNvPr id="10" name="TextBox 9">
            <a:extLst>
              <a:ext uri="{FF2B5EF4-FFF2-40B4-BE49-F238E27FC236}">
                <a16:creationId xmlns:a16="http://schemas.microsoft.com/office/drawing/2014/main" id="{C367F6E5-72D0-4F6D-BF98-7EF55E4B257A}"/>
              </a:ext>
            </a:extLst>
          </p:cNvPr>
          <p:cNvSpPr txBox="1"/>
          <p:nvPr/>
        </p:nvSpPr>
        <p:spPr>
          <a:xfrm>
            <a:off x="7002301" y="5645477"/>
            <a:ext cx="783172" cy="276999"/>
          </a:xfrm>
          <a:prstGeom prst="rect">
            <a:avLst/>
          </a:prstGeom>
          <a:noFill/>
        </p:spPr>
        <p:txBody>
          <a:bodyPr wrap="square" lIns="0" tIns="0" rIns="0" bIns="0" rtlCol="0">
            <a:spAutoFit/>
          </a:bodyPr>
          <a:lstStyle/>
          <a:p>
            <a:pPr algn="l"/>
            <a:r>
              <a:rPr lang="en-US" b="1" dirty="0">
                <a:solidFill>
                  <a:schemeClr val="bg1"/>
                </a:solidFill>
              </a:rPr>
              <a:t>Oracle</a:t>
            </a:r>
          </a:p>
        </p:txBody>
      </p:sp>
    </p:spTree>
    <p:extLst>
      <p:ext uri="{BB962C8B-B14F-4D97-AF65-F5344CB8AC3E}">
        <p14:creationId xmlns:p14="http://schemas.microsoft.com/office/powerpoint/2010/main" val="2333833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28274" y="361802"/>
            <a:ext cx="9966649" cy="1020602"/>
          </a:xfrm>
        </p:spPr>
        <p:txBody>
          <a:bodyPr/>
          <a:lstStyle/>
          <a:p>
            <a:r>
              <a:rPr lang="en-US">
                <a:solidFill>
                  <a:schemeClr val="accent3"/>
                </a:solidFill>
              </a:rPr>
              <a:t>Migrating your workloads to Azure IaaS</a:t>
            </a:r>
          </a:p>
        </p:txBody>
      </p:sp>
      <p:sp>
        <p:nvSpPr>
          <p:cNvPr id="52" name="Rectangle 51">
            <a:extLst>
              <a:ext uri="{FF2B5EF4-FFF2-40B4-BE49-F238E27FC236}">
                <a16:creationId xmlns:a16="http://schemas.microsoft.com/office/drawing/2014/main" id="{4D3EFBBB-7BDB-4786-810C-2A6F348899E7}"/>
              </a:ext>
              <a:ext uri="{C183D7F6-B498-43B3-948B-1728B52AA6E4}">
                <adec:decorative xmlns:adec="http://schemas.microsoft.com/office/drawing/2017/decorative" xmlns="" val="1"/>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Rectangle 55">
            <a:extLst>
              <a:ext uri="{FF2B5EF4-FFF2-40B4-BE49-F238E27FC236}">
                <a16:creationId xmlns:a16="http://schemas.microsoft.com/office/drawing/2014/main" id="{68079F6D-9AF5-49D3-8A51-C2D6B20CFEFE}"/>
              </a:ext>
              <a:ext uri="{C183D7F6-B498-43B3-948B-1728B52AA6E4}">
                <adec:decorative xmlns:adec="http://schemas.microsoft.com/office/drawing/2017/decorative" xmlns="" val="1"/>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9" name="TextBox 58">
            <a:extLst>
              <a:ext uri="{FF2B5EF4-FFF2-40B4-BE49-F238E27FC236}">
                <a16:creationId xmlns:a16="http://schemas.microsoft.com/office/drawing/2014/main" id="{4A2808C3-1C04-4160-B8C3-3561A1599B44}"/>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70" name="Group 69" descr="right pointing arrow">
            <a:extLst>
              <a:ext uri="{FF2B5EF4-FFF2-40B4-BE49-F238E27FC236}">
                <a16:creationId xmlns:a16="http://schemas.microsoft.com/office/drawing/2014/main" id="{DFE62C1C-4155-4A25-8BB4-1E03671BEF44}"/>
              </a:ext>
              <a:ext uri="{C183D7F6-B498-43B3-948B-1728B52AA6E4}">
                <adec:decorative xmlns:adec="http://schemas.microsoft.com/office/drawing/2017/decorative" xmlns="" val="0"/>
              </a:ext>
            </a:extLst>
          </p:cNvPr>
          <p:cNvGrpSpPr/>
          <p:nvPr/>
        </p:nvGrpSpPr>
        <p:grpSpPr>
          <a:xfrm>
            <a:off x="5834488" y="3529199"/>
            <a:ext cx="519561" cy="519561"/>
            <a:chOff x="5684522" y="3797244"/>
            <a:chExt cx="822960" cy="822960"/>
          </a:xfrm>
        </p:grpSpPr>
        <p:sp>
          <p:nvSpPr>
            <p:cNvPr id="71" name="Flowchart: Connector 70">
              <a:extLst>
                <a:ext uri="{FF2B5EF4-FFF2-40B4-BE49-F238E27FC236}">
                  <a16:creationId xmlns:a16="http://schemas.microsoft.com/office/drawing/2014/main" id="{CA0F35AE-C1BB-4F9E-9FE1-1827B40CBBD4}"/>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284E93EA-DE05-4C0D-B739-8BF76EE5DDCD}"/>
                </a:ext>
              </a:extLst>
            </p:cNvPr>
            <p:cNvGrpSpPr/>
            <p:nvPr/>
          </p:nvGrpSpPr>
          <p:grpSpPr>
            <a:xfrm>
              <a:off x="5721046" y="3833770"/>
              <a:ext cx="749908" cy="749908"/>
              <a:chOff x="3195695" y="3058765"/>
              <a:chExt cx="457200" cy="457200"/>
            </a:xfrm>
            <a:solidFill>
              <a:srgbClr val="50E6FF"/>
            </a:solidFill>
          </p:grpSpPr>
          <p:sp>
            <p:nvSpPr>
              <p:cNvPr id="73" name="Flowchart: Connector 72">
                <a:extLst>
                  <a:ext uri="{FF2B5EF4-FFF2-40B4-BE49-F238E27FC236}">
                    <a16:creationId xmlns:a16="http://schemas.microsoft.com/office/drawing/2014/main" id="{3D74B0D4-9790-42B7-9F0A-620300B20C2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Isosceles Triangle 73">
                <a:extLst>
                  <a:ext uri="{FF2B5EF4-FFF2-40B4-BE49-F238E27FC236}">
                    <a16:creationId xmlns:a16="http://schemas.microsoft.com/office/drawing/2014/main" id="{7847398B-E2EE-4850-ADFC-5D34240B2C04}"/>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1" name="Rectangle 41">
            <a:extLst>
              <a:ext uri="{FF2B5EF4-FFF2-40B4-BE49-F238E27FC236}">
                <a16:creationId xmlns:a16="http://schemas.microsoft.com/office/drawing/2014/main" id="{75ABDC0D-D385-4EF0-AD92-B088285D503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84" name="Rectangle 41">
            <a:extLst>
              <a:ext uri="{FF2B5EF4-FFF2-40B4-BE49-F238E27FC236}">
                <a16:creationId xmlns:a16="http://schemas.microsoft.com/office/drawing/2014/main" id="{837EBBBA-2973-4E07-B107-D2797A105C3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85" name="Rectangle 41">
            <a:extLst>
              <a:ext uri="{FF2B5EF4-FFF2-40B4-BE49-F238E27FC236}">
                <a16:creationId xmlns:a16="http://schemas.microsoft.com/office/drawing/2014/main" id="{D36ED9CE-CF83-4E2F-BBC2-11E4531A0C46}"/>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sp>
        <p:nvSpPr>
          <p:cNvPr id="86" name="Rectangle 41">
            <a:extLst>
              <a:ext uri="{FF2B5EF4-FFF2-40B4-BE49-F238E27FC236}">
                <a16:creationId xmlns:a16="http://schemas.microsoft.com/office/drawing/2014/main" id="{A23BFD11-E942-4832-A10A-746DC196BDF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IaaS</a:t>
            </a:r>
          </a:p>
        </p:txBody>
      </p:sp>
      <p:grpSp>
        <p:nvGrpSpPr>
          <p:cNvPr id="89" name="Group 88">
            <a:extLst>
              <a:ext uri="{FF2B5EF4-FFF2-40B4-BE49-F238E27FC236}">
                <a16:creationId xmlns:a16="http://schemas.microsoft.com/office/drawing/2014/main" id="{9A76C324-D8DC-4AAA-AAF9-5B9F5BF15442}"/>
              </a:ext>
              <a:ext uri="{C183D7F6-B498-43B3-948B-1728B52AA6E4}">
                <adec:decorative xmlns:adec="http://schemas.microsoft.com/office/drawing/2017/decorative" xmlns="" val="1"/>
              </a:ext>
            </a:extLst>
          </p:cNvPr>
          <p:cNvGrpSpPr/>
          <p:nvPr/>
        </p:nvGrpSpPr>
        <p:grpSpPr>
          <a:xfrm>
            <a:off x="10241684"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26635CE-A588-4A6F-89BD-8F0C1A02C7C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865C45C0-62B9-4E69-9AA4-B5F95914B9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019E06F0-7A43-4D17-AD9D-91C7F26A7B3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0ACC8F94-5EC9-43CC-827F-90BF756BD110}"/>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89177E9A-8A95-468A-AF1A-7BFC9050AF20}"/>
              </a:ext>
              <a:ext uri="{C183D7F6-B498-43B3-948B-1728B52AA6E4}">
                <adec:decorative xmlns:adec="http://schemas.microsoft.com/office/drawing/2017/decorative" xmlns="" val="1"/>
              </a:ext>
            </a:extLst>
          </p:cNvPr>
          <p:cNvGrpSpPr/>
          <p:nvPr/>
        </p:nvGrpSpPr>
        <p:grpSpPr>
          <a:xfrm>
            <a:off x="9454590" y="2494523"/>
            <a:ext cx="531314" cy="1255538"/>
            <a:chOff x="3120947" y="2767732"/>
            <a:chExt cx="440060" cy="1039897"/>
          </a:xfrm>
        </p:grpSpPr>
        <p:pic>
          <p:nvPicPr>
            <p:cNvPr id="95" name="Picture 94">
              <a:extLst>
                <a:ext uri="{FF2B5EF4-FFF2-40B4-BE49-F238E27FC236}">
                  <a16:creationId xmlns:a16="http://schemas.microsoft.com/office/drawing/2014/main" id="{4B070171-F354-4F67-82A7-FD4BAA63BEBF}"/>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0C9A7AC7-53F6-454B-8455-69FD176E28C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120947" y="3367567"/>
              <a:ext cx="440060" cy="440062"/>
            </a:xfrm>
            <a:prstGeom prst="rect">
              <a:avLst/>
            </a:prstGeom>
          </p:spPr>
        </p:pic>
      </p:grpSp>
      <p:grpSp>
        <p:nvGrpSpPr>
          <p:cNvPr id="98" name="Group 97">
            <a:extLst>
              <a:ext uri="{FF2B5EF4-FFF2-40B4-BE49-F238E27FC236}">
                <a16:creationId xmlns:a16="http://schemas.microsoft.com/office/drawing/2014/main" id="{7177E653-FB33-4825-AD73-9CABF16BE168}"/>
              </a:ext>
              <a:ext uri="{C183D7F6-B498-43B3-948B-1728B52AA6E4}">
                <adec:decorative xmlns:adec="http://schemas.microsoft.com/office/drawing/2017/decorative" xmlns="" val="1"/>
              </a:ext>
            </a:extLst>
          </p:cNvPr>
          <p:cNvGrpSpPr/>
          <p:nvPr/>
        </p:nvGrpSpPr>
        <p:grpSpPr>
          <a:xfrm>
            <a:off x="3727825" y="2706764"/>
            <a:ext cx="1097096" cy="831054"/>
            <a:chOff x="2295151" y="2493733"/>
            <a:chExt cx="1286530" cy="974549"/>
          </a:xfrm>
        </p:grpSpPr>
        <p:pic>
          <p:nvPicPr>
            <p:cNvPr id="99" name="Graphic 98" descr="Virtual Machines">
              <a:extLst>
                <a:ext uri="{FF2B5EF4-FFF2-40B4-BE49-F238E27FC236}">
                  <a16:creationId xmlns:a16="http://schemas.microsoft.com/office/drawing/2014/main" id="{F258710B-0B69-4227-B022-33650DF0A43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295151" y="3001381"/>
              <a:ext cx="457550" cy="457550"/>
            </a:xfrm>
            <a:prstGeom prst="rect">
              <a:avLst/>
            </a:prstGeom>
          </p:spPr>
        </p:pic>
        <p:pic>
          <p:nvPicPr>
            <p:cNvPr id="100" name="Graphic 99" descr="Virtual Machines">
              <a:extLst>
                <a:ext uri="{FF2B5EF4-FFF2-40B4-BE49-F238E27FC236}">
                  <a16:creationId xmlns:a16="http://schemas.microsoft.com/office/drawing/2014/main" id="{3A45B6C9-94F4-4D71-B7B3-EFD786C0C95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24131" y="3010732"/>
              <a:ext cx="457550" cy="457550"/>
            </a:xfrm>
            <a:prstGeom prst="rect">
              <a:avLst/>
            </a:prstGeom>
          </p:spPr>
        </p:pic>
        <p:pic>
          <p:nvPicPr>
            <p:cNvPr id="101" name="Graphic 100" descr="Virtual Machines">
              <a:extLst>
                <a:ext uri="{FF2B5EF4-FFF2-40B4-BE49-F238E27FC236}">
                  <a16:creationId xmlns:a16="http://schemas.microsoft.com/office/drawing/2014/main" id="{F0CB96F2-152E-4DDD-AA0B-BFCD6073958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709641" y="2493733"/>
              <a:ext cx="457550" cy="457550"/>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3A05CBCC-FE98-4310-8562-6B8CED20E2A8}"/>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103" name="Group 102">
            <a:extLst>
              <a:ext uri="{FF2B5EF4-FFF2-40B4-BE49-F238E27FC236}">
                <a16:creationId xmlns:a16="http://schemas.microsoft.com/office/drawing/2014/main" id="{754DF659-1F12-4964-9F89-E5C7F0D01C3F}"/>
              </a:ext>
              <a:ext uri="{C183D7F6-B498-43B3-948B-1728B52AA6E4}">
                <adec:decorative xmlns:adec="http://schemas.microsoft.com/office/drawing/2017/decorative" xmlns="" val="1"/>
              </a:ext>
            </a:extLst>
          </p:cNvPr>
          <p:cNvGrpSpPr/>
          <p:nvPr/>
        </p:nvGrpSpPr>
        <p:grpSpPr>
          <a:xfrm>
            <a:off x="2940731" y="2494523"/>
            <a:ext cx="531314" cy="1255538"/>
            <a:chOff x="3120947" y="2767732"/>
            <a:chExt cx="440060" cy="1039897"/>
          </a:xfrm>
        </p:grpSpPr>
        <p:pic>
          <p:nvPicPr>
            <p:cNvPr id="104" name="Picture 103">
              <a:extLst>
                <a:ext uri="{FF2B5EF4-FFF2-40B4-BE49-F238E27FC236}">
                  <a16:creationId xmlns:a16="http://schemas.microsoft.com/office/drawing/2014/main" id="{664ACB29-E993-417B-8385-A2C0E25AD963}"/>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105" name="Graphic 104" descr="Windows App">
              <a:extLst>
                <a:ext uri="{FF2B5EF4-FFF2-40B4-BE49-F238E27FC236}">
                  <a16:creationId xmlns:a16="http://schemas.microsoft.com/office/drawing/2014/main" id="{894EC5B5-1E89-4906-AD42-C00FEDD8E52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120947" y="3367567"/>
              <a:ext cx="440060" cy="440062"/>
            </a:xfrm>
            <a:prstGeom prst="rect">
              <a:avLst/>
            </a:prstGeom>
          </p:spPr>
        </p:pic>
      </p:grpSp>
      <p:pic>
        <p:nvPicPr>
          <p:cNvPr id="110" name="Picture 109" descr="A picture containing drawing&#10;&#10;Description automatically generated">
            <a:extLst>
              <a:ext uri="{FF2B5EF4-FFF2-40B4-BE49-F238E27FC236}">
                <a16:creationId xmlns:a16="http://schemas.microsoft.com/office/drawing/2014/main" id="{A376BE4E-5029-406B-9E75-E73B28686BB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3180" t="18325" r="24455" b="12066"/>
          <a:stretch/>
        </p:blipFill>
        <p:spPr>
          <a:xfrm>
            <a:off x="745249" y="5915525"/>
            <a:ext cx="1076325" cy="317953"/>
          </a:xfrm>
          <a:prstGeom prst="rect">
            <a:avLst/>
          </a:prstGeom>
        </p:spPr>
      </p:pic>
      <p:grpSp>
        <p:nvGrpSpPr>
          <p:cNvPr id="111" name="Group 110" descr="Microsoft Azure">
            <a:extLst>
              <a:ext uri="{FF2B5EF4-FFF2-40B4-BE49-F238E27FC236}">
                <a16:creationId xmlns:a16="http://schemas.microsoft.com/office/drawing/2014/main" id="{CB8E9922-7375-496A-B26F-C2AFDD7EEE83}"/>
              </a:ext>
            </a:extLst>
          </p:cNvPr>
          <p:cNvGrpSpPr/>
          <p:nvPr/>
        </p:nvGrpSpPr>
        <p:grpSpPr>
          <a:xfrm>
            <a:off x="8290987" y="5835221"/>
            <a:ext cx="2122775" cy="348996"/>
            <a:chOff x="8393658" y="6449927"/>
            <a:chExt cx="2122775" cy="348996"/>
          </a:xfrm>
        </p:grpSpPr>
        <p:pic>
          <p:nvPicPr>
            <p:cNvPr id="112" name="Picture 111" descr="Microsoft Azure Logo&#10;">
              <a:extLst>
                <a:ext uri="{FF2B5EF4-FFF2-40B4-BE49-F238E27FC236}">
                  <a16:creationId xmlns:a16="http://schemas.microsoft.com/office/drawing/2014/main" id="{4039AD37-087E-426E-802B-A6EF80F74BA4}"/>
                </a:ext>
              </a:extLst>
            </p:cNvPr>
            <p:cNvPicPr>
              <a:picLocks noChangeAspect="1"/>
            </p:cNvPicPr>
            <p:nvPr/>
          </p:nvPicPr>
          <p:blipFill rotWithShape="1">
            <a:blip r:embed="rId9"/>
            <a:srcRect l="8636" t="23738" r="75972" b="29140"/>
            <a:stretch/>
          </p:blipFill>
          <p:spPr>
            <a:xfrm>
              <a:off x="8393658" y="6449927"/>
              <a:ext cx="344644" cy="348995"/>
            </a:xfrm>
            <a:prstGeom prst="rect">
              <a:avLst/>
            </a:prstGeom>
          </p:spPr>
        </p:pic>
        <p:pic>
          <p:nvPicPr>
            <p:cNvPr id="113" name="Picture 112" descr="Microsoft Azure Logo&#10;">
              <a:extLst>
                <a:ext uri="{FF2B5EF4-FFF2-40B4-BE49-F238E27FC236}">
                  <a16:creationId xmlns:a16="http://schemas.microsoft.com/office/drawing/2014/main" id="{C7460227-940A-4278-8A04-B940FC3F27A6}"/>
                </a:ext>
              </a:extLst>
            </p:cNvPr>
            <p:cNvPicPr>
              <a:picLocks noChangeAspect="1"/>
            </p:cNvPicPr>
            <p:nvPr/>
          </p:nvPicPr>
          <p:blipFill rotWithShape="1">
            <a:blip r:embed="rId9">
              <a:biLevel thresh="25000"/>
            </a:blip>
            <a:srcRect l="23707" t="30928" b="29139"/>
            <a:stretch/>
          </p:blipFill>
          <p:spPr>
            <a:xfrm>
              <a:off x="8808156" y="6503179"/>
              <a:ext cx="1708277" cy="295744"/>
            </a:xfrm>
            <a:prstGeom prst="rect">
              <a:avLst/>
            </a:prstGeom>
          </p:spPr>
        </p:pic>
      </p:grpSp>
      <p:pic>
        <p:nvPicPr>
          <p:cNvPr id="115" name="Picture 8" descr="Image result for SQL Database logo">
            <a:extLst>
              <a:ext uri="{FF2B5EF4-FFF2-40B4-BE49-F238E27FC236}">
                <a16:creationId xmlns:a16="http://schemas.microsoft.com/office/drawing/2014/main" id="{4EE4C769-C9CA-4A47-A907-FFDE0A5027D0}"/>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558" r="27134" b="17686"/>
          <a:stretch/>
        </p:blipFill>
        <p:spPr bwMode="auto">
          <a:xfrm>
            <a:off x="2730018" y="4430582"/>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116" name="Graphic 115" descr="Virtual Machines">
            <a:extLst>
              <a:ext uri="{FF2B5EF4-FFF2-40B4-BE49-F238E27FC236}">
                <a16:creationId xmlns:a16="http://schemas.microsoft.com/office/drawing/2014/main" id="{F2D5DF42-E504-49B4-8AB1-BABBB7FF7A3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671704" y="4539846"/>
            <a:ext cx="659940" cy="659940"/>
          </a:xfrm>
          <a:prstGeom prst="rect">
            <a:avLst/>
          </a:prstGeom>
        </p:spPr>
      </p:pic>
      <p:pic>
        <p:nvPicPr>
          <p:cNvPr id="117" name="Picture 8" descr="Image result for SQL Database logo">
            <a:extLst>
              <a:ext uri="{FF2B5EF4-FFF2-40B4-BE49-F238E27FC236}">
                <a16:creationId xmlns:a16="http://schemas.microsoft.com/office/drawing/2014/main" id="{663E2C02-DD30-4A8C-803D-183A22DE54FC}"/>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558" r="27134" b="17686"/>
          <a:stretch/>
        </p:blipFill>
        <p:spPr bwMode="auto">
          <a:xfrm>
            <a:off x="9430035" y="4439794"/>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0CC60AD-23BD-4026-8605-67C687F02F59}"/>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43" name="Rectangle 42">
            <a:extLst>
              <a:ext uri="{FF2B5EF4-FFF2-40B4-BE49-F238E27FC236}">
                <a16:creationId xmlns:a16="http://schemas.microsoft.com/office/drawing/2014/main" id="{BEA20D58-16B3-4B08-BE2A-3D973F3FA976}"/>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4E2321CC-24AD-4DDE-8D1F-075D11A497C7}"/>
              </a:ext>
              <a:ext uri="{C183D7F6-B498-43B3-948B-1728B52AA6E4}">
                <adec:decorative xmlns:adec="http://schemas.microsoft.com/office/drawing/2017/decorative" xmlns="" val="1"/>
              </a:ext>
            </a:extLst>
          </p:cNvPr>
          <p:cNvGrpSpPr/>
          <p:nvPr/>
        </p:nvGrpSpPr>
        <p:grpSpPr>
          <a:xfrm>
            <a:off x="3527553" y="4240652"/>
            <a:ext cx="1057314" cy="1179062"/>
            <a:chOff x="3002415" y="4470654"/>
            <a:chExt cx="899320" cy="1002875"/>
          </a:xfrm>
        </p:grpSpPr>
        <p:pic>
          <p:nvPicPr>
            <p:cNvPr id="45" name="Graphic 44" descr="Maria DB">
              <a:extLst>
                <a:ext uri="{FF2B5EF4-FFF2-40B4-BE49-F238E27FC236}">
                  <a16:creationId xmlns:a16="http://schemas.microsoft.com/office/drawing/2014/main" id="{460B2339-1685-4C1F-A20C-B6CA92F4848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3002415" y="4932768"/>
              <a:ext cx="540761" cy="540761"/>
            </a:xfrm>
            <a:prstGeom prst="rect">
              <a:avLst/>
            </a:prstGeom>
          </p:spPr>
        </p:pic>
        <p:pic>
          <p:nvPicPr>
            <p:cNvPr id="46" name="Picture 45" descr="Azure Database for Post-gress SQL">
              <a:extLst>
                <a:ext uri="{FF2B5EF4-FFF2-40B4-BE49-F238E27FC236}">
                  <a16:creationId xmlns:a16="http://schemas.microsoft.com/office/drawing/2014/main" id="{456B831A-27D2-4A9A-BB8C-184FFCA76CBF}"/>
                </a:ext>
              </a:extLst>
            </p:cNvPr>
            <p:cNvPicPr>
              <a:picLocks noChangeAspect="1"/>
            </p:cNvPicPr>
            <p:nvPr/>
          </p:nvPicPr>
          <p:blipFill>
            <a:blip r:embed="rId15"/>
            <a:stretch>
              <a:fillRect/>
            </a:stretch>
          </p:blipFill>
          <p:spPr>
            <a:xfrm>
              <a:off x="3370112" y="4470654"/>
              <a:ext cx="361131" cy="476201"/>
            </a:xfrm>
            <a:prstGeom prst="rect">
              <a:avLst/>
            </a:prstGeom>
          </p:spPr>
        </p:pic>
        <p:pic>
          <p:nvPicPr>
            <p:cNvPr id="47" name="Picture 46" descr="Azure Database for MySQL">
              <a:extLst>
                <a:ext uri="{FF2B5EF4-FFF2-40B4-BE49-F238E27FC236}">
                  <a16:creationId xmlns:a16="http://schemas.microsoft.com/office/drawing/2014/main" id="{BC0618CD-AD51-41E1-B8B5-40256099D091}"/>
                </a:ext>
              </a:extLst>
            </p:cNvPr>
            <p:cNvPicPr>
              <a:picLocks noChangeAspect="1"/>
            </p:cNvPicPr>
            <p:nvPr/>
          </p:nvPicPr>
          <p:blipFill>
            <a:blip r:embed="rId16"/>
            <a:stretch>
              <a:fillRect/>
            </a:stretch>
          </p:blipFill>
          <p:spPr>
            <a:xfrm>
              <a:off x="3540604" y="4960942"/>
              <a:ext cx="361131" cy="484412"/>
            </a:xfrm>
            <a:prstGeom prst="rect">
              <a:avLst/>
            </a:prstGeom>
          </p:spPr>
        </p:pic>
      </p:grpSp>
      <p:pic>
        <p:nvPicPr>
          <p:cNvPr id="5" name="Graphic 4" descr="Maria DB">
            <a:extLst>
              <a:ext uri="{FF2B5EF4-FFF2-40B4-BE49-F238E27FC236}">
                <a16:creationId xmlns:a16="http://schemas.microsoft.com/office/drawing/2014/main" id="{27BC5B75-174F-4694-BDF4-21DB188401E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10217988" y="4750826"/>
            <a:ext cx="635763" cy="635763"/>
          </a:xfrm>
          <a:prstGeom prst="rect">
            <a:avLst/>
          </a:prstGeom>
        </p:spPr>
      </p:pic>
      <p:pic>
        <p:nvPicPr>
          <p:cNvPr id="6" name="Picture 5" descr="Azure Database for Post-gress SQL">
            <a:extLst>
              <a:ext uri="{FF2B5EF4-FFF2-40B4-BE49-F238E27FC236}">
                <a16:creationId xmlns:a16="http://schemas.microsoft.com/office/drawing/2014/main" id="{6CA5886D-EC59-43A9-BC04-FCAE1CDFB829}"/>
              </a:ext>
            </a:extLst>
          </p:cNvPr>
          <p:cNvPicPr>
            <a:picLocks noChangeAspect="1"/>
          </p:cNvPicPr>
          <p:nvPr/>
        </p:nvPicPr>
        <p:blipFill>
          <a:blip r:embed="rId15"/>
          <a:stretch>
            <a:fillRect/>
          </a:stretch>
        </p:blipFill>
        <p:spPr>
          <a:xfrm>
            <a:off x="10535870" y="4212909"/>
            <a:ext cx="424575" cy="559861"/>
          </a:xfrm>
          <a:prstGeom prst="rect">
            <a:avLst/>
          </a:prstGeom>
        </p:spPr>
      </p:pic>
      <p:pic>
        <p:nvPicPr>
          <p:cNvPr id="7" name="Picture 6" descr="Azure Database for MySQL">
            <a:extLst>
              <a:ext uri="{FF2B5EF4-FFF2-40B4-BE49-F238E27FC236}">
                <a16:creationId xmlns:a16="http://schemas.microsoft.com/office/drawing/2014/main" id="{B0532551-7924-4AE5-A249-E892CC765823}"/>
              </a:ext>
            </a:extLst>
          </p:cNvPr>
          <p:cNvPicPr>
            <a:picLocks noChangeAspect="1"/>
          </p:cNvPicPr>
          <p:nvPr/>
        </p:nvPicPr>
        <p:blipFill>
          <a:blip r:embed="rId16"/>
          <a:stretch>
            <a:fillRect/>
          </a:stretch>
        </p:blipFill>
        <p:spPr>
          <a:xfrm>
            <a:off x="10827376" y="4783951"/>
            <a:ext cx="424575" cy="569514"/>
          </a:xfrm>
          <a:prstGeom prst="rect">
            <a:avLst/>
          </a:prstGeom>
        </p:spPr>
      </p:pic>
      <p:sp>
        <p:nvSpPr>
          <p:cNvPr id="4" name="TextBox 3">
            <a:extLst>
              <a:ext uri="{FF2B5EF4-FFF2-40B4-BE49-F238E27FC236}">
                <a16:creationId xmlns:a16="http://schemas.microsoft.com/office/drawing/2014/main" id="{33336966-0A8E-44FF-B39E-D84D230FC7CA}"/>
              </a:ext>
            </a:extLst>
          </p:cNvPr>
          <p:cNvSpPr txBox="1"/>
          <p:nvPr/>
        </p:nvSpPr>
        <p:spPr>
          <a:xfrm>
            <a:off x="2018929" y="5953328"/>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8" name="TextBox 7">
            <a:extLst>
              <a:ext uri="{FF2B5EF4-FFF2-40B4-BE49-F238E27FC236}">
                <a16:creationId xmlns:a16="http://schemas.microsoft.com/office/drawing/2014/main" id="{7280BEFD-CEC3-4C78-8551-22955347DB07}"/>
              </a:ext>
            </a:extLst>
          </p:cNvPr>
          <p:cNvSpPr txBox="1"/>
          <p:nvPr/>
        </p:nvSpPr>
        <p:spPr>
          <a:xfrm>
            <a:off x="3057594" y="5953328"/>
            <a:ext cx="431077" cy="276999"/>
          </a:xfrm>
          <a:prstGeom prst="rect">
            <a:avLst/>
          </a:prstGeom>
          <a:noFill/>
        </p:spPr>
        <p:txBody>
          <a:bodyPr wrap="square" lIns="0" tIns="0" rIns="0" bIns="0" rtlCol="0">
            <a:spAutoFit/>
          </a:bodyPr>
          <a:lstStyle/>
          <a:p>
            <a:pPr algn="l"/>
            <a:r>
              <a:rPr lang="en-US" dirty="0">
                <a:solidFill>
                  <a:schemeClr val="bg1"/>
                </a:solidFill>
              </a:rPr>
              <a:t>aws</a:t>
            </a:r>
          </a:p>
        </p:txBody>
      </p:sp>
      <p:sp>
        <p:nvSpPr>
          <p:cNvPr id="9" name="TextBox 8">
            <a:extLst>
              <a:ext uri="{FF2B5EF4-FFF2-40B4-BE49-F238E27FC236}">
                <a16:creationId xmlns:a16="http://schemas.microsoft.com/office/drawing/2014/main" id="{72C346C7-27BA-47BD-B620-0ED5EF3F8532}"/>
              </a:ext>
            </a:extLst>
          </p:cNvPr>
          <p:cNvSpPr txBox="1"/>
          <p:nvPr/>
        </p:nvSpPr>
        <p:spPr>
          <a:xfrm>
            <a:off x="3729066" y="6009189"/>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spTree>
    <p:extLst>
      <p:ext uri="{BB962C8B-B14F-4D97-AF65-F5344CB8AC3E}">
        <p14:creationId xmlns:p14="http://schemas.microsoft.com/office/powerpoint/2010/main" val="737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Economic Pressures">
            <a:extLst>
              <a:ext uri="{FF2B5EF4-FFF2-40B4-BE49-F238E27FC236}">
                <a16:creationId xmlns:a16="http://schemas.microsoft.com/office/drawing/2014/main" id="{92A27A01-970D-456D-9DC8-219F1BC6BDE1}"/>
              </a:ext>
            </a:extLst>
          </p:cNvPr>
          <p:cNvPicPr>
            <a:picLocks noChangeAspect="1"/>
          </p:cNvPicPr>
          <p:nvPr/>
        </p:nvPicPr>
        <p:blipFill>
          <a:blip r:embed="rId3"/>
          <a:srcRect l="5841" t="12558" r="701" b="8586"/>
          <a:stretch>
            <a:fillRect/>
          </a:stretch>
        </p:blipFill>
        <p:spPr>
          <a:xfrm>
            <a:off x="20" y="2"/>
            <a:ext cx="12191980" cy="6858001"/>
          </a:xfrm>
          <a:custGeom>
            <a:avLst/>
            <a:gdLst>
              <a:gd name="connsiteX0" fmla="*/ 0 w 12191980"/>
              <a:gd name="connsiteY0" fmla="*/ 0 h 6858001"/>
              <a:gd name="connsiteX1" fmla="*/ 12191980 w 12191980"/>
              <a:gd name="connsiteY1" fmla="*/ 0 h 6858001"/>
              <a:gd name="connsiteX2" fmla="*/ 12191980 w 12191980"/>
              <a:gd name="connsiteY2" fmla="*/ 6858001 h 6858001"/>
              <a:gd name="connsiteX3" fmla="*/ 0 w 12191980"/>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1980" h="6858001">
                <a:moveTo>
                  <a:pt x="0" y="0"/>
                </a:moveTo>
                <a:lnTo>
                  <a:pt x="12191980" y="0"/>
                </a:lnTo>
                <a:lnTo>
                  <a:pt x="12191980" y="6858001"/>
                </a:lnTo>
                <a:lnTo>
                  <a:pt x="0" y="6858001"/>
                </a:lnTo>
                <a:close/>
              </a:path>
            </a:pathLst>
          </a:custGeom>
        </p:spPr>
      </p:pic>
      <p:sp>
        <p:nvSpPr>
          <p:cNvPr id="8" name="Rectangle 7" descr="Picture of a person on a computer with a phone">
            <a:extLst>
              <a:ext uri="{FF2B5EF4-FFF2-40B4-BE49-F238E27FC236}">
                <a16:creationId xmlns:a16="http://schemas.microsoft.com/office/drawing/2014/main" id="{0700AAA6-795A-49B6-9A77-39790AA5BDE6}"/>
              </a:ext>
            </a:extLst>
          </p:cNvPr>
          <p:cNvSpPr/>
          <p:nvPr/>
        </p:nvSpPr>
        <p:spPr bwMode="auto">
          <a:xfrm>
            <a:off x="21" y="0"/>
            <a:ext cx="12191979" cy="6858000"/>
          </a:xfrm>
          <a:prstGeom prst="rect">
            <a:avLst/>
          </a:prstGeom>
          <a:solidFill>
            <a:schemeClr val="tx1">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8">
            <a:extLst>
              <a:ext uri="{FF2B5EF4-FFF2-40B4-BE49-F238E27FC236}">
                <a16:creationId xmlns:a16="http://schemas.microsoft.com/office/drawing/2014/main" id="{FB90A794-DF1C-4939-8CD4-637FA05543C8}"/>
              </a:ext>
            </a:extLst>
          </p:cNvPr>
          <p:cNvSpPr txBox="1">
            <a:spLocks noGrp="1"/>
          </p:cNvSpPr>
          <p:nvPr>
            <p:ph type="title" idx="4294967295"/>
          </p:nvPr>
        </p:nvSpPr>
        <p:spPr>
          <a:xfrm>
            <a:off x="1952625" y="3044280"/>
            <a:ext cx="8286750"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en-US"/>
            </a:defPPr>
            <a:lvl1pPr marR="0" lvl="0" indent="0" algn="ctr" defTabSz="911939" rtl="0" eaLnBrk="1" fontAlgn="auto" latinLnBrk="0" hangingPunct="1">
              <a:lnSpc>
                <a:spcPct val="100000"/>
              </a:lnSpc>
              <a:spcBef>
                <a:spcPts val="0"/>
              </a:spcBef>
              <a:spcAft>
                <a:spcPts val="0"/>
              </a:spcAft>
              <a:buClrTx/>
              <a:buSzTx/>
              <a:buFontTx/>
              <a:buNone/>
              <a:tabLst/>
              <a:defRPr sz="4000" b="1" kern="0">
                <a:solidFill>
                  <a:srgbClr val="FFFFFF"/>
                </a:solidFill>
                <a:effectLst>
                  <a:glow rad="228600">
                    <a:srgbClr val="000000">
                      <a:alpha val="40000"/>
                    </a:srgbClr>
                  </a:glow>
                </a:effectLst>
                <a:latin typeface="Segoe UI Semibold" panose="020B0702040204020203" pitchFamily="34" charset="0"/>
                <a:ea typeface="+mj-ea"/>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FFFFFF"/>
                </a:solidFill>
                <a:effectLst/>
                <a:uLnTx/>
                <a:uFillTx/>
                <a:latin typeface="Segoe UI Semibold"/>
                <a:ea typeface="+mj-ea"/>
                <a:cs typeface="Segoe UI Semibold" panose="020B0702040204020203" pitchFamily="34" charset="0"/>
              </a:rPr>
              <a:t>Economic pressures</a:t>
            </a:r>
          </a:p>
        </p:txBody>
      </p:sp>
    </p:spTree>
    <p:extLst>
      <p:ext uri="{BB962C8B-B14F-4D97-AF65-F5344CB8AC3E}">
        <p14:creationId xmlns:p14="http://schemas.microsoft.com/office/powerpoint/2010/main" val="76570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42" presetClass="path" presetSubtype="0" decel="100000" fill="hold" grpId="1" nodeType="withEffect">
                                  <p:stCondLst>
                                    <p:cond delay="250"/>
                                  </p:stCondLst>
                                  <p:childTnLst>
                                    <p:animMotion origin="layout" path="M 0 0 L 0 0.03056 " pathEditMode="relative" rAng="0" ptsTypes="AA">
                                      <p:cBhvr>
                                        <p:cTn id="12" dur="750" spd="-100000" fill="hold"/>
                                        <p:tgtEl>
                                          <p:spTgt spid="11"/>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p:bldP spid="11"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7" name="Rectangle 46" descr="LOB App-VMware">
            <a:extLst>
              <a:ext uri="{FF2B5EF4-FFF2-40B4-BE49-F238E27FC236}">
                <a16:creationId xmlns:a16="http://schemas.microsoft.com/office/drawing/2014/main" id="{04F55937-C0AA-4F05-8911-D3230E3CB228}"/>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09008"/>
            <a:ext cx="11081177" cy="1020602"/>
          </a:xfrm>
        </p:spPr>
        <p:txBody>
          <a:bodyPr/>
          <a:lstStyle/>
          <a:p>
            <a:r>
              <a:rPr lang="en-US" dirty="0">
                <a:solidFill>
                  <a:schemeClr val="accent3"/>
                </a:solidFill>
              </a:rPr>
              <a:t>Migrating your VMware-virtualized infrastructure to </a:t>
            </a:r>
            <a:br>
              <a:rPr lang="en-US" dirty="0">
                <a:solidFill>
                  <a:schemeClr val="accent3"/>
                </a:solidFill>
              </a:rPr>
            </a:br>
            <a:r>
              <a:rPr lang="en-US" dirty="0">
                <a:solidFill>
                  <a:schemeClr val="accent3"/>
                </a:solidFill>
              </a:rPr>
              <a:t>Azure VMware Solution</a:t>
            </a:r>
          </a:p>
        </p:txBody>
      </p:sp>
      <p:sp>
        <p:nvSpPr>
          <p:cNvPr id="127" name="Rectangle 126" descr="LOB App-Azure3 VMware Solution">
            <a:extLst>
              <a:ext uri="{FF2B5EF4-FFF2-40B4-BE49-F238E27FC236}">
                <a16:creationId xmlns:a16="http://schemas.microsoft.com/office/drawing/2014/main" id="{41B13A8F-B35D-413C-A599-B9648F62B33C}"/>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TextBox 43">
            <a:extLst>
              <a:ext uri="{FF2B5EF4-FFF2-40B4-BE49-F238E27FC236}">
                <a16:creationId xmlns:a16="http://schemas.microsoft.com/office/drawing/2014/main" id="{A90CBB90-7E2C-4371-9B04-10EEA2C8C319}"/>
              </a:ext>
            </a:extLst>
          </p:cNvPr>
          <p:cNvSpPr txBox="1"/>
          <p:nvPr/>
        </p:nvSpPr>
        <p:spPr>
          <a:xfrm>
            <a:off x="7869333" y="5994169"/>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Azure VMware Solution</a:t>
            </a:r>
          </a:p>
        </p:txBody>
      </p:sp>
      <p:sp>
        <p:nvSpPr>
          <p:cNvPr id="45" name="TextBox 44">
            <a:extLst>
              <a:ext uri="{FF2B5EF4-FFF2-40B4-BE49-F238E27FC236}">
                <a16:creationId xmlns:a16="http://schemas.microsoft.com/office/drawing/2014/main" id="{2175FD0C-0D9E-4809-BA51-DEE9F7631209}"/>
              </a:ext>
            </a:extLst>
          </p:cNvPr>
          <p:cNvSpPr txBox="1"/>
          <p:nvPr/>
        </p:nvSpPr>
        <p:spPr>
          <a:xfrm>
            <a:off x="5204371" y="3125021"/>
            <a:ext cx="1780484" cy="276999"/>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itchFamily="34" charset="0"/>
              </a:rPr>
              <a:t>VMware tools</a:t>
            </a:r>
          </a:p>
        </p:txBody>
      </p:sp>
      <p:grpSp>
        <p:nvGrpSpPr>
          <p:cNvPr id="48" name="Group 47" descr="right facing arrow">
            <a:extLst>
              <a:ext uri="{FF2B5EF4-FFF2-40B4-BE49-F238E27FC236}">
                <a16:creationId xmlns:a16="http://schemas.microsoft.com/office/drawing/2014/main" id="{B0809324-EDF8-4420-B81D-E21ED2312F88}"/>
              </a:ext>
            </a:extLst>
          </p:cNvPr>
          <p:cNvGrpSpPr/>
          <p:nvPr/>
        </p:nvGrpSpPr>
        <p:grpSpPr>
          <a:xfrm>
            <a:off x="5834488" y="3529199"/>
            <a:ext cx="519561" cy="519561"/>
            <a:chOff x="5684522" y="3797244"/>
            <a:chExt cx="822960" cy="822960"/>
          </a:xfrm>
        </p:grpSpPr>
        <p:sp>
          <p:nvSpPr>
            <p:cNvPr id="49" name="Flowchart: Connector 48">
              <a:extLst>
                <a:ext uri="{FF2B5EF4-FFF2-40B4-BE49-F238E27FC236}">
                  <a16:creationId xmlns:a16="http://schemas.microsoft.com/office/drawing/2014/main" id="{0195DDA6-851C-4A81-855F-3F54ECFB7FD1}"/>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0752C537-3578-4181-BBD6-8763E092B40E}"/>
                </a:ext>
              </a:extLst>
            </p:cNvPr>
            <p:cNvGrpSpPr/>
            <p:nvPr/>
          </p:nvGrpSpPr>
          <p:grpSpPr>
            <a:xfrm>
              <a:off x="5721046" y="3833770"/>
              <a:ext cx="749908" cy="749908"/>
              <a:chOff x="3195695" y="3058765"/>
              <a:chExt cx="457200" cy="457200"/>
            </a:xfrm>
            <a:solidFill>
              <a:srgbClr val="50E6FF"/>
            </a:solidFill>
          </p:grpSpPr>
          <p:sp>
            <p:nvSpPr>
              <p:cNvPr id="66" name="Flowchart: Connector 65">
                <a:extLst>
                  <a:ext uri="{FF2B5EF4-FFF2-40B4-BE49-F238E27FC236}">
                    <a16:creationId xmlns:a16="http://schemas.microsoft.com/office/drawing/2014/main" id="{83996FE2-AEC2-49BD-8FF4-3EF7A25ACB8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Isosceles Triangle 71">
                <a:extLst>
                  <a:ext uri="{FF2B5EF4-FFF2-40B4-BE49-F238E27FC236}">
                    <a16:creationId xmlns:a16="http://schemas.microsoft.com/office/drawing/2014/main" id="{E22EEEF4-3FB6-468A-A09E-1C293EA3C12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3" name="Rectangle 41">
            <a:extLst>
              <a:ext uri="{FF2B5EF4-FFF2-40B4-BE49-F238E27FC236}">
                <a16:creationId xmlns:a16="http://schemas.microsoft.com/office/drawing/2014/main" id="{5D1A7D9D-04B1-4836-B778-571078457848}"/>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4" name="Rectangle 41">
            <a:extLst>
              <a:ext uri="{FF2B5EF4-FFF2-40B4-BE49-F238E27FC236}">
                <a16:creationId xmlns:a16="http://schemas.microsoft.com/office/drawing/2014/main" id="{821CF2E3-6404-4239-9D8E-FEFF3DDD291F}"/>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6" name="Rectangle 41">
            <a:extLst>
              <a:ext uri="{FF2B5EF4-FFF2-40B4-BE49-F238E27FC236}">
                <a16:creationId xmlns:a16="http://schemas.microsoft.com/office/drawing/2014/main" id="{97AD2664-79C6-4D3D-8AFC-6DD47F61D59B}"/>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p>
        </p:txBody>
      </p:sp>
      <p:sp>
        <p:nvSpPr>
          <p:cNvPr id="77" name="Rectangle 41">
            <a:extLst>
              <a:ext uri="{FF2B5EF4-FFF2-40B4-BE49-F238E27FC236}">
                <a16:creationId xmlns:a16="http://schemas.microsoft.com/office/drawing/2014/main" id="{6587E8AD-2D76-4635-9384-337F74EBE2B1}"/>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grpSp>
        <p:nvGrpSpPr>
          <p:cNvPr id="80" name="Group 79">
            <a:extLst>
              <a:ext uri="{FF2B5EF4-FFF2-40B4-BE49-F238E27FC236}">
                <a16:creationId xmlns:a16="http://schemas.microsoft.com/office/drawing/2014/main" id="{94195DAB-3570-45EA-91A9-FBC12492330E}"/>
              </a:ext>
              <a:ext uri="{C183D7F6-B498-43B3-948B-1728B52AA6E4}">
                <adec:decorative xmlns:adec="http://schemas.microsoft.com/office/drawing/2017/decorative" xmlns="" val="1"/>
              </a:ext>
            </a:extLst>
          </p:cNvPr>
          <p:cNvGrpSpPr/>
          <p:nvPr/>
        </p:nvGrpSpPr>
        <p:grpSpPr>
          <a:xfrm>
            <a:off x="10241684" y="2706764"/>
            <a:ext cx="1097096" cy="831054"/>
            <a:chOff x="2295151" y="2493733"/>
            <a:chExt cx="1286530" cy="974549"/>
          </a:xfrm>
        </p:grpSpPr>
        <p:pic>
          <p:nvPicPr>
            <p:cNvPr id="81" name="Graphic 80" descr="Virtual Machines">
              <a:extLst>
                <a:ext uri="{FF2B5EF4-FFF2-40B4-BE49-F238E27FC236}">
                  <a16:creationId xmlns:a16="http://schemas.microsoft.com/office/drawing/2014/main" id="{9D280E66-1F01-40A1-8741-F0244A0254F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295151" y="3001381"/>
              <a:ext cx="457550" cy="457550"/>
            </a:xfrm>
            <a:prstGeom prst="rect">
              <a:avLst/>
            </a:prstGeom>
          </p:spPr>
        </p:pic>
        <p:pic>
          <p:nvPicPr>
            <p:cNvPr id="82" name="Graphic 81" descr="Virtual Machines">
              <a:extLst>
                <a:ext uri="{FF2B5EF4-FFF2-40B4-BE49-F238E27FC236}">
                  <a16:creationId xmlns:a16="http://schemas.microsoft.com/office/drawing/2014/main" id="{18E0C12F-BDE3-45F7-8764-DF0796BAA14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24131" y="3010732"/>
              <a:ext cx="457550" cy="457550"/>
            </a:xfrm>
            <a:prstGeom prst="rect">
              <a:avLst/>
            </a:prstGeom>
          </p:spPr>
        </p:pic>
        <p:pic>
          <p:nvPicPr>
            <p:cNvPr id="83" name="Graphic 82" descr="Virtual Machines">
              <a:extLst>
                <a:ext uri="{FF2B5EF4-FFF2-40B4-BE49-F238E27FC236}">
                  <a16:creationId xmlns:a16="http://schemas.microsoft.com/office/drawing/2014/main" id="{55F39C9F-3935-4D75-8720-E7C4EC652D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709641" y="2493733"/>
              <a:ext cx="457550" cy="457550"/>
            </a:xfrm>
            <a:prstGeom prst="rect">
              <a:avLst/>
            </a:prstGeom>
          </p:spPr>
        </p:pic>
        <p:pic>
          <p:nvPicPr>
            <p:cNvPr id="84" name="Picture 83" descr="A close up of a logo&#10;&#10;Description automatically generated">
              <a:extLst>
                <a:ext uri="{FF2B5EF4-FFF2-40B4-BE49-F238E27FC236}">
                  <a16:creationId xmlns:a16="http://schemas.microsoft.com/office/drawing/2014/main" id="{B19D8580-7F26-4BE8-AEFE-64C377BC58D5}"/>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85" name="Group 84">
            <a:extLst>
              <a:ext uri="{FF2B5EF4-FFF2-40B4-BE49-F238E27FC236}">
                <a16:creationId xmlns:a16="http://schemas.microsoft.com/office/drawing/2014/main" id="{E2ED9776-97BA-4E2C-96B3-C2AF5F85B0EF}"/>
              </a:ext>
              <a:ext uri="{C183D7F6-B498-43B3-948B-1728B52AA6E4}">
                <adec:decorative xmlns:adec="http://schemas.microsoft.com/office/drawing/2017/decorative" xmlns="" val="1"/>
              </a:ext>
            </a:extLst>
          </p:cNvPr>
          <p:cNvGrpSpPr/>
          <p:nvPr/>
        </p:nvGrpSpPr>
        <p:grpSpPr>
          <a:xfrm>
            <a:off x="9454590" y="2494523"/>
            <a:ext cx="531314" cy="1255538"/>
            <a:chOff x="3120947" y="2767732"/>
            <a:chExt cx="440060" cy="1039897"/>
          </a:xfrm>
        </p:grpSpPr>
        <p:pic>
          <p:nvPicPr>
            <p:cNvPr id="86" name="Picture 85">
              <a:extLst>
                <a:ext uri="{FF2B5EF4-FFF2-40B4-BE49-F238E27FC236}">
                  <a16:creationId xmlns:a16="http://schemas.microsoft.com/office/drawing/2014/main" id="{A23710C3-F5FC-4C92-9F49-9ED87C2E969E}"/>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87" name="Graphic 86" descr="Windows App">
              <a:extLst>
                <a:ext uri="{FF2B5EF4-FFF2-40B4-BE49-F238E27FC236}">
                  <a16:creationId xmlns:a16="http://schemas.microsoft.com/office/drawing/2014/main" id="{6D69A384-4326-4362-A197-EDE6D83626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120947" y="3367567"/>
              <a:ext cx="440060" cy="440062"/>
            </a:xfrm>
            <a:prstGeom prst="rect">
              <a:avLst/>
            </a:prstGeom>
          </p:spPr>
        </p:pic>
      </p:grpSp>
      <p:grpSp>
        <p:nvGrpSpPr>
          <p:cNvPr id="89" name="Group 88">
            <a:extLst>
              <a:ext uri="{FF2B5EF4-FFF2-40B4-BE49-F238E27FC236}">
                <a16:creationId xmlns:a16="http://schemas.microsoft.com/office/drawing/2014/main" id="{5E238982-4BF8-4727-805A-9EC76A00F758}"/>
              </a:ext>
              <a:ext uri="{C183D7F6-B498-43B3-948B-1728B52AA6E4}">
                <adec:decorative xmlns:adec="http://schemas.microsoft.com/office/drawing/2017/decorative" xmlns="" val="1"/>
              </a:ext>
            </a:extLst>
          </p:cNvPr>
          <p:cNvGrpSpPr/>
          <p:nvPr/>
        </p:nvGrpSpPr>
        <p:grpSpPr>
          <a:xfrm>
            <a:off x="3727825" y="2706764"/>
            <a:ext cx="1097096" cy="831054"/>
            <a:chOff x="2295151" y="2493733"/>
            <a:chExt cx="1286530" cy="974549"/>
          </a:xfrm>
        </p:grpSpPr>
        <p:pic>
          <p:nvPicPr>
            <p:cNvPr id="90" name="Graphic 89" descr="Virtual Machines">
              <a:extLst>
                <a:ext uri="{FF2B5EF4-FFF2-40B4-BE49-F238E27FC236}">
                  <a16:creationId xmlns:a16="http://schemas.microsoft.com/office/drawing/2014/main" id="{B426ED8D-E3E1-48C4-9177-5843B6F3E0C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295151" y="3001381"/>
              <a:ext cx="457550" cy="457550"/>
            </a:xfrm>
            <a:prstGeom prst="rect">
              <a:avLst/>
            </a:prstGeom>
          </p:spPr>
        </p:pic>
        <p:pic>
          <p:nvPicPr>
            <p:cNvPr id="91" name="Graphic 90" descr="Virtual Machines">
              <a:extLst>
                <a:ext uri="{FF2B5EF4-FFF2-40B4-BE49-F238E27FC236}">
                  <a16:creationId xmlns:a16="http://schemas.microsoft.com/office/drawing/2014/main" id="{F7481C64-6188-4A2B-A4D4-93EE8B91544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24131" y="3010732"/>
              <a:ext cx="457550" cy="457550"/>
            </a:xfrm>
            <a:prstGeom prst="rect">
              <a:avLst/>
            </a:prstGeom>
          </p:spPr>
        </p:pic>
        <p:pic>
          <p:nvPicPr>
            <p:cNvPr id="92" name="Graphic 91" descr="Virtual Machines">
              <a:extLst>
                <a:ext uri="{FF2B5EF4-FFF2-40B4-BE49-F238E27FC236}">
                  <a16:creationId xmlns:a16="http://schemas.microsoft.com/office/drawing/2014/main" id="{320D2E60-FF1B-4D4E-962E-238D3D467F2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709641" y="2493733"/>
              <a:ext cx="457550" cy="457550"/>
            </a:xfrm>
            <a:prstGeom prst="rect">
              <a:avLst/>
            </a:prstGeom>
          </p:spPr>
        </p:pic>
        <p:pic>
          <p:nvPicPr>
            <p:cNvPr id="93" name="Picture 92" descr="A close up of a logo&#10;&#10;Description automatically generated">
              <a:extLst>
                <a:ext uri="{FF2B5EF4-FFF2-40B4-BE49-F238E27FC236}">
                  <a16:creationId xmlns:a16="http://schemas.microsoft.com/office/drawing/2014/main" id="{CCC7DBB3-0DBE-452E-A56A-B82932F8FAD9}"/>
                </a:ext>
              </a:extLst>
            </p:cNvPr>
            <p:cNvPicPr>
              <a:picLocks noChangeAspect="1"/>
            </p:cNvPicPr>
            <p:nvPr/>
          </p:nvPicPr>
          <p:blipFill>
            <a:blip r:embed="rId4"/>
            <a:stretch>
              <a:fillRect/>
            </a:stretch>
          </p:blipFill>
          <p:spPr>
            <a:xfrm>
              <a:off x="2766077" y="2933819"/>
              <a:ext cx="336793" cy="336793"/>
            </a:xfrm>
            <a:prstGeom prst="rect">
              <a:avLst/>
            </a:prstGeom>
          </p:spPr>
        </p:pic>
      </p:grpSp>
      <p:grpSp>
        <p:nvGrpSpPr>
          <p:cNvPr id="94" name="Group 93">
            <a:extLst>
              <a:ext uri="{FF2B5EF4-FFF2-40B4-BE49-F238E27FC236}">
                <a16:creationId xmlns:a16="http://schemas.microsoft.com/office/drawing/2014/main" id="{94DACB2D-F3E7-43E9-ACF7-26E6229E7557}"/>
              </a:ext>
              <a:ext uri="{C183D7F6-B498-43B3-948B-1728B52AA6E4}">
                <adec:decorative xmlns:adec="http://schemas.microsoft.com/office/drawing/2017/decorative" xmlns="" val="1"/>
              </a:ext>
            </a:extLst>
          </p:cNvPr>
          <p:cNvGrpSpPr/>
          <p:nvPr/>
        </p:nvGrpSpPr>
        <p:grpSpPr>
          <a:xfrm>
            <a:off x="2940731" y="2494523"/>
            <a:ext cx="531314" cy="1255538"/>
            <a:chOff x="3120947" y="2767732"/>
            <a:chExt cx="440060" cy="1039897"/>
          </a:xfrm>
        </p:grpSpPr>
        <p:pic>
          <p:nvPicPr>
            <p:cNvPr id="95" name="Picture 94">
              <a:extLst>
                <a:ext uri="{FF2B5EF4-FFF2-40B4-BE49-F238E27FC236}">
                  <a16:creationId xmlns:a16="http://schemas.microsoft.com/office/drawing/2014/main" id="{E63D219E-267A-401A-8163-8DF14669EF32}"/>
                </a:ext>
              </a:extLst>
            </p:cNvPr>
            <p:cNvPicPr>
              <a:picLocks noChangeAspect="1"/>
            </p:cNvPicPr>
            <p:nvPr/>
          </p:nvPicPr>
          <p:blipFill>
            <a:blip r:embed="rId5"/>
            <a:stretch>
              <a:fillRect/>
            </a:stretch>
          </p:blipFill>
          <p:spPr>
            <a:xfrm>
              <a:off x="3134813" y="2767732"/>
              <a:ext cx="412328" cy="446356"/>
            </a:xfrm>
            <a:prstGeom prst="rect">
              <a:avLst/>
            </a:prstGeom>
          </p:spPr>
        </p:pic>
        <p:pic>
          <p:nvPicPr>
            <p:cNvPr id="96" name="Graphic 95" descr="Windows App">
              <a:extLst>
                <a:ext uri="{FF2B5EF4-FFF2-40B4-BE49-F238E27FC236}">
                  <a16:creationId xmlns:a16="http://schemas.microsoft.com/office/drawing/2014/main" id="{7D710631-3E7A-4F8E-B21A-11160AADB17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120947" y="3367567"/>
              <a:ext cx="440060" cy="440062"/>
            </a:xfrm>
            <a:prstGeom prst="rect">
              <a:avLst/>
            </a:prstGeom>
          </p:spPr>
        </p:pic>
      </p:grpSp>
      <p:pic>
        <p:nvPicPr>
          <p:cNvPr id="97" name="Graphic 96" descr="Virtual Machines">
            <a:extLst>
              <a:ext uri="{FF2B5EF4-FFF2-40B4-BE49-F238E27FC236}">
                <a16:creationId xmlns:a16="http://schemas.microsoft.com/office/drawing/2014/main" id="{623FE95E-3DE0-435F-90F3-05DD6D15E46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8688055" y="4526156"/>
            <a:ext cx="659940" cy="659940"/>
          </a:xfrm>
          <a:prstGeom prst="rect">
            <a:avLst/>
          </a:prstGeom>
        </p:spPr>
      </p:pic>
      <p:pic>
        <p:nvPicPr>
          <p:cNvPr id="98" name="Picture 8" descr="Image result for SQL Database logo">
            <a:extLst>
              <a:ext uri="{FF2B5EF4-FFF2-40B4-BE49-F238E27FC236}">
                <a16:creationId xmlns:a16="http://schemas.microsoft.com/office/drawing/2014/main" id="{6E8CFF7A-443D-4003-A2AD-51735B4C367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558" r="27134" b="17686"/>
          <a:stretch/>
        </p:blipFill>
        <p:spPr bwMode="auto">
          <a:xfrm>
            <a:off x="9454590" y="4478845"/>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8" descr="Image result for SQL Database logo">
            <a:extLst>
              <a:ext uri="{FF2B5EF4-FFF2-40B4-BE49-F238E27FC236}">
                <a16:creationId xmlns:a16="http://schemas.microsoft.com/office/drawing/2014/main" id="{5BE543D9-827D-4961-86C2-D634F2D1F15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9558" r="27134" b="17686"/>
          <a:stretch/>
        </p:blipFill>
        <p:spPr bwMode="auto">
          <a:xfrm>
            <a:off x="2242295" y="4496240"/>
            <a:ext cx="659940" cy="754562"/>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13F4595-C816-448D-9201-68C6898FB427}"/>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7" name="Rectangle 36">
            <a:extLst>
              <a:ext uri="{FF2B5EF4-FFF2-40B4-BE49-F238E27FC236}">
                <a16:creationId xmlns:a16="http://schemas.microsoft.com/office/drawing/2014/main" id="{1F9F2237-237F-40B7-9987-DB49276EE974}"/>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grpSp>
        <p:nvGrpSpPr>
          <p:cNvPr id="3" name="Group 2">
            <a:extLst>
              <a:ext uri="{FF2B5EF4-FFF2-40B4-BE49-F238E27FC236}">
                <a16:creationId xmlns:a16="http://schemas.microsoft.com/office/drawing/2014/main" id="{B6B3D54E-6F19-44C7-8953-9090EAE0CD74}"/>
              </a:ext>
              <a:ext uri="{C183D7F6-B498-43B3-948B-1728B52AA6E4}">
                <adec:decorative xmlns:adec="http://schemas.microsoft.com/office/drawing/2017/decorative" xmlns="" val="1"/>
              </a:ext>
            </a:extLst>
          </p:cNvPr>
          <p:cNvGrpSpPr/>
          <p:nvPr/>
        </p:nvGrpSpPr>
        <p:grpSpPr>
          <a:xfrm>
            <a:off x="3527553" y="4240652"/>
            <a:ext cx="1057314" cy="1179062"/>
            <a:chOff x="3002415" y="4470654"/>
            <a:chExt cx="899320" cy="1002875"/>
          </a:xfrm>
        </p:grpSpPr>
        <p:pic>
          <p:nvPicPr>
            <p:cNvPr id="39" name="Graphic 38" descr="Maria DB">
              <a:extLst>
                <a:ext uri="{FF2B5EF4-FFF2-40B4-BE49-F238E27FC236}">
                  <a16:creationId xmlns:a16="http://schemas.microsoft.com/office/drawing/2014/main" id="{BD1E9460-EC4F-4BCD-9B8E-A8819B850C2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3002415" y="4932768"/>
              <a:ext cx="540761" cy="540761"/>
            </a:xfrm>
            <a:prstGeom prst="rect">
              <a:avLst/>
            </a:prstGeom>
          </p:spPr>
        </p:pic>
        <p:pic>
          <p:nvPicPr>
            <p:cNvPr id="40" name="Picture 39" descr="Azure Database for Post-gress SQL">
              <a:extLst>
                <a:ext uri="{FF2B5EF4-FFF2-40B4-BE49-F238E27FC236}">
                  <a16:creationId xmlns:a16="http://schemas.microsoft.com/office/drawing/2014/main" id="{51AB13D3-6971-48D6-9CF4-A3592BDFD704}"/>
                </a:ext>
              </a:extLst>
            </p:cNvPr>
            <p:cNvPicPr>
              <a:picLocks noChangeAspect="1"/>
            </p:cNvPicPr>
            <p:nvPr/>
          </p:nvPicPr>
          <p:blipFill>
            <a:blip r:embed="rId13"/>
            <a:stretch>
              <a:fillRect/>
            </a:stretch>
          </p:blipFill>
          <p:spPr>
            <a:xfrm>
              <a:off x="3370112" y="4470654"/>
              <a:ext cx="361131" cy="476201"/>
            </a:xfrm>
            <a:prstGeom prst="rect">
              <a:avLst/>
            </a:prstGeom>
          </p:spPr>
        </p:pic>
        <p:pic>
          <p:nvPicPr>
            <p:cNvPr id="41" name="Picture 40" descr="Azure Database for MySQL">
              <a:extLst>
                <a:ext uri="{FF2B5EF4-FFF2-40B4-BE49-F238E27FC236}">
                  <a16:creationId xmlns:a16="http://schemas.microsoft.com/office/drawing/2014/main" id="{D1C36C3B-7F6B-4FA3-A4C1-2A10E0502F44}"/>
                </a:ext>
              </a:extLst>
            </p:cNvPr>
            <p:cNvPicPr>
              <a:picLocks noChangeAspect="1"/>
            </p:cNvPicPr>
            <p:nvPr/>
          </p:nvPicPr>
          <p:blipFill>
            <a:blip r:embed="rId14"/>
            <a:stretch>
              <a:fillRect/>
            </a:stretch>
          </p:blipFill>
          <p:spPr>
            <a:xfrm>
              <a:off x="3540604" y="4960942"/>
              <a:ext cx="361131" cy="484412"/>
            </a:xfrm>
            <a:prstGeom prst="rect">
              <a:avLst/>
            </a:prstGeom>
          </p:spPr>
        </p:pic>
      </p:grpSp>
      <p:grpSp>
        <p:nvGrpSpPr>
          <p:cNvPr id="4" name="Group 3">
            <a:extLst>
              <a:ext uri="{FF2B5EF4-FFF2-40B4-BE49-F238E27FC236}">
                <a16:creationId xmlns:a16="http://schemas.microsoft.com/office/drawing/2014/main" id="{887A9ACB-3DA0-4A2D-B87F-7AC30E090544}"/>
              </a:ext>
              <a:ext uri="{C183D7F6-B498-43B3-948B-1728B52AA6E4}">
                <adec:decorative xmlns:adec="http://schemas.microsoft.com/office/drawing/2017/decorative" xmlns="" val="1"/>
              </a:ext>
            </a:extLst>
          </p:cNvPr>
          <p:cNvGrpSpPr/>
          <p:nvPr/>
        </p:nvGrpSpPr>
        <p:grpSpPr>
          <a:xfrm>
            <a:off x="10233086" y="4211295"/>
            <a:ext cx="1057314" cy="1179062"/>
            <a:chOff x="3002415" y="4470654"/>
            <a:chExt cx="899320" cy="1002875"/>
          </a:xfrm>
        </p:grpSpPr>
        <p:pic>
          <p:nvPicPr>
            <p:cNvPr id="50" name="Graphic 49" descr="Maria DB">
              <a:extLst>
                <a:ext uri="{FF2B5EF4-FFF2-40B4-BE49-F238E27FC236}">
                  <a16:creationId xmlns:a16="http://schemas.microsoft.com/office/drawing/2014/main" id="{53D20D57-D45C-43AA-A7C3-EF151261136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3002415" y="4932768"/>
              <a:ext cx="540761" cy="540761"/>
            </a:xfrm>
            <a:prstGeom prst="rect">
              <a:avLst/>
            </a:prstGeom>
          </p:spPr>
        </p:pic>
        <p:pic>
          <p:nvPicPr>
            <p:cNvPr id="51" name="Picture 50" descr="Azure Database for Post-gress SQL">
              <a:extLst>
                <a:ext uri="{FF2B5EF4-FFF2-40B4-BE49-F238E27FC236}">
                  <a16:creationId xmlns:a16="http://schemas.microsoft.com/office/drawing/2014/main" id="{D323F276-C146-4E46-8863-D9E68B359DCA}"/>
                </a:ext>
              </a:extLst>
            </p:cNvPr>
            <p:cNvPicPr>
              <a:picLocks noChangeAspect="1"/>
            </p:cNvPicPr>
            <p:nvPr/>
          </p:nvPicPr>
          <p:blipFill>
            <a:blip r:embed="rId13"/>
            <a:stretch>
              <a:fillRect/>
            </a:stretch>
          </p:blipFill>
          <p:spPr>
            <a:xfrm>
              <a:off x="3370112" y="4470654"/>
              <a:ext cx="361131" cy="476201"/>
            </a:xfrm>
            <a:prstGeom prst="rect">
              <a:avLst/>
            </a:prstGeom>
          </p:spPr>
        </p:pic>
        <p:pic>
          <p:nvPicPr>
            <p:cNvPr id="52" name="Picture 51" descr="Azure Database for MySQL">
              <a:extLst>
                <a:ext uri="{FF2B5EF4-FFF2-40B4-BE49-F238E27FC236}">
                  <a16:creationId xmlns:a16="http://schemas.microsoft.com/office/drawing/2014/main" id="{F338E520-95A6-49EA-B953-88E32A30FFA2}"/>
                </a:ext>
              </a:extLst>
            </p:cNvPr>
            <p:cNvPicPr>
              <a:picLocks noChangeAspect="1"/>
            </p:cNvPicPr>
            <p:nvPr/>
          </p:nvPicPr>
          <p:blipFill>
            <a:blip r:embed="rId14"/>
            <a:stretch>
              <a:fillRect/>
            </a:stretch>
          </p:blipFill>
          <p:spPr>
            <a:xfrm>
              <a:off x="3540604" y="4960942"/>
              <a:ext cx="361131" cy="484412"/>
            </a:xfrm>
            <a:prstGeom prst="rect">
              <a:avLst/>
            </a:prstGeom>
          </p:spPr>
        </p:pic>
      </p:grpSp>
      <p:sp>
        <p:nvSpPr>
          <p:cNvPr id="5" name="TextBox 4">
            <a:extLst>
              <a:ext uri="{FF2B5EF4-FFF2-40B4-BE49-F238E27FC236}">
                <a16:creationId xmlns:a16="http://schemas.microsoft.com/office/drawing/2014/main" id="{D6C40366-7D45-4C9A-B95E-B7B7E24279F2}"/>
              </a:ext>
            </a:extLst>
          </p:cNvPr>
          <p:cNvSpPr txBox="1"/>
          <p:nvPr/>
        </p:nvSpPr>
        <p:spPr>
          <a:xfrm>
            <a:off x="1381781" y="5963690"/>
            <a:ext cx="296608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VMware</a:t>
            </a:r>
          </a:p>
        </p:txBody>
      </p:sp>
    </p:spTree>
    <p:extLst>
      <p:ext uri="{BB962C8B-B14F-4D97-AF65-F5344CB8AC3E}">
        <p14:creationId xmlns:p14="http://schemas.microsoft.com/office/powerpoint/2010/main" val="231896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p:txBody>
          <a:bodyPr/>
          <a:lstStyle/>
          <a:p>
            <a:r>
              <a:rPr lang="en-US" sz="3200">
                <a:solidFill>
                  <a:schemeClr val="accent3"/>
                </a:solidFill>
              </a:rPr>
              <a:t>Migrating your Virtual Desktop Infrastructure (VDI) to Windows Virtual Desktop</a:t>
            </a:r>
          </a:p>
        </p:txBody>
      </p:sp>
      <p:sp>
        <p:nvSpPr>
          <p:cNvPr id="56" name="Rectangle 55">
            <a:extLst>
              <a:ext uri="{FF2B5EF4-FFF2-40B4-BE49-F238E27FC236}">
                <a16:creationId xmlns:a16="http://schemas.microsoft.com/office/drawing/2014/main" id="{4FBF6C0F-E8D9-4DDA-B03E-296D5CF75BDD}"/>
              </a:ext>
              <a:ext uri="{C183D7F6-B498-43B3-948B-1728B52AA6E4}">
                <adec:decorative xmlns:adec="http://schemas.microsoft.com/office/drawing/2017/decorative" xmlns="" val="1"/>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7" name="Rectangle 56" descr="VDI Deployment">
            <a:extLst>
              <a:ext uri="{FF2B5EF4-FFF2-40B4-BE49-F238E27FC236}">
                <a16:creationId xmlns:a16="http://schemas.microsoft.com/office/drawing/2014/main" id="{57C20A40-1E7C-4089-A72D-751790B16B55}"/>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8" name="TextBox 57">
            <a:extLst>
              <a:ext uri="{FF2B5EF4-FFF2-40B4-BE49-F238E27FC236}">
                <a16:creationId xmlns:a16="http://schemas.microsoft.com/office/drawing/2014/main" id="{4DF223B2-77F6-4EAD-9B41-2C1E212C18FB}"/>
              </a:ext>
            </a:extLst>
          </p:cNvPr>
          <p:cNvSpPr txBox="1"/>
          <p:nvPr/>
        </p:nvSpPr>
        <p:spPr>
          <a:xfrm>
            <a:off x="5204371" y="2538257"/>
            <a:ext cx="1780484" cy="1661993"/>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integration with Lakeside for Assessment) Partner tools for Migration</a:t>
            </a:r>
          </a:p>
        </p:txBody>
      </p:sp>
      <p:grpSp>
        <p:nvGrpSpPr>
          <p:cNvPr id="87" name="Group 86" descr="right pointing arrow">
            <a:extLst>
              <a:ext uri="{FF2B5EF4-FFF2-40B4-BE49-F238E27FC236}">
                <a16:creationId xmlns:a16="http://schemas.microsoft.com/office/drawing/2014/main" id="{3991D8A2-64FA-4C52-A091-9FE351AEA01E}"/>
              </a:ext>
            </a:extLst>
          </p:cNvPr>
          <p:cNvGrpSpPr/>
          <p:nvPr/>
        </p:nvGrpSpPr>
        <p:grpSpPr>
          <a:xfrm>
            <a:off x="5834488" y="4327429"/>
            <a:ext cx="519561" cy="519561"/>
            <a:chOff x="5684522" y="3797244"/>
            <a:chExt cx="822960" cy="822960"/>
          </a:xfrm>
        </p:grpSpPr>
        <p:sp>
          <p:nvSpPr>
            <p:cNvPr id="88" name="Flowchart: Connector 87">
              <a:extLst>
                <a:ext uri="{FF2B5EF4-FFF2-40B4-BE49-F238E27FC236}">
                  <a16:creationId xmlns:a16="http://schemas.microsoft.com/office/drawing/2014/main" id="{AD9A297B-A4FA-473F-9641-993BE35766A6}"/>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88">
              <a:extLst>
                <a:ext uri="{FF2B5EF4-FFF2-40B4-BE49-F238E27FC236}">
                  <a16:creationId xmlns:a16="http://schemas.microsoft.com/office/drawing/2014/main" id="{E1C04258-18A4-4A97-8084-4F5FAFCC0AD8}"/>
                </a:ext>
              </a:extLst>
            </p:cNvPr>
            <p:cNvGrpSpPr/>
            <p:nvPr/>
          </p:nvGrpSpPr>
          <p:grpSpPr>
            <a:xfrm>
              <a:off x="5721046" y="3833770"/>
              <a:ext cx="749908" cy="749908"/>
              <a:chOff x="3195695" y="3058765"/>
              <a:chExt cx="457200" cy="457200"/>
            </a:xfrm>
            <a:solidFill>
              <a:srgbClr val="50E6FF"/>
            </a:solidFill>
          </p:grpSpPr>
          <p:sp>
            <p:nvSpPr>
              <p:cNvPr id="90" name="Flowchart: Connector 89">
                <a:extLst>
                  <a:ext uri="{FF2B5EF4-FFF2-40B4-BE49-F238E27FC236}">
                    <a16:creationId xmlns:a16="http://schemas.microsoft.com/office/drawing/2014/main" id="{0BB571D7-9279-4B35-BF69-BE3F1946FCE6}"/>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Isosceles Triangle 90">
                <a:extLst>
                  <a:ext uri="{FF2B5EF4-FFF2-40B4-BE49-F238E27FC236}">
                    <a16:creationId xmlns:a16="http://schemas.microsoft.com/office/drawing/2014/main" id="{C8E5B0CF-8A94-4AB9-B8B5-D529CEF6D80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92" name="Rectangle 41">
            <a:extLst>
              <a:ext uri="{FF2B5EF4-FFF2-40B4-BE49-F238E27FC236}">
                <a16:creationId xmlns:a16="http://schemas.microsoft.com/office/drawing/2014/main" id="{1F127B4F-A37C-43AF-A9B1-A09D1957F57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Virtual Desktops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RDS/VMware/</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Citrix) </a:t>
            </a:r>
          </a:p>
        </p:txBody>
      </p:sp>
      <p:sp>
        <p:nvSpPr>
          <p:cNvPr id="93" name="Rectangle 41">
            <a:extLst>
              <a:ext uri="{FF2B5EF4-FFF2-40B4-BE49-F238E27FC236}">
                <a16:creationId xmlns:a16="http://schemas.microsoft.com/office/drawing/2014/main" id="{837C18FB-5EFC-4A9C-A068-5DE27364A1E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VDI</a:t>
            </a: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 Infrastructure</a:t>
            </a:r>
          </a:p>
        </p:txBody>
      </p:sp>
      <p:sp>
        <p:nvSpPr>
          <p:cNvPr id="94" name="Rectangle 41">
            <a:extLst>
              <a:ext uri="{FF2B5EF4-FFF2-40B4-BE49-F238E27FC236}">
                <a16:creationId xmlns:a16="http://schemas.microsoft.com/office/drawing/2014/main" id="{415F804D-EE9A-44B1-9C55-F866D206A2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Windows Virtual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Desktop (native </a:t>
            </a:r>
            <a:b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dirty="0">
                <a:ln w="3175">
                  <a:noFill/>
                </a:ln>
                <a:solidFill>
                  <a:prstClr val="white"/>
                </a:solidFill>
                <a:effectLst/>
                <a:uLnTx/>
                <a:uFillTx/>
                <a:latin typeface="Segoe UI Semibold"/>
                <a:ea typeface="+mn-ea"/>
                <a:cs typeface="Segoe UI" panose="020B0502040204020203" pitchFamily="34" charset="0"/>
              </a:rPr>
              <a:t>or VMware/Citrix)</a:t>
            </a:r>
          </a:p>
        </p:txBody>
      </p:sp>
      <p:sp>
        <p:nvSpPr>
          <p:cNvPr id="95" name="Rectangle 41">
            <a:extLst>
              <a:ext uri="{FF2B5EF4-FFF2-40B4-BE49-F238E27FC236}">
                <a16:creationId xmlns:a16="http://schemas.microsoft.com/office/drawing/2014/main" id="{0ADE9B8F-4E99-489D-901F-8E3B58BAD67F}"/>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r>
              <a:rPr kumimoji="0" lang="en-US" sz="1800" b="0" i="0" u="none" strike="noStrike" kern="0" cap="none" spc="0" normalizeH="0" baseline="0" noProof="0" err="1">
                <a:ln w="3175">
                  <a:noFill/>
                </a:ln>
                <a:solidFill>
                  <a:prstClr val="white"/>
                </a:solidFill>
                <a:effectLst/>
                <a:uLnTx/>
                <a:uFillTx/>
                <a:latin typeface="Segoe UI Semibold"/>
                <a:ea typeface="+mn-ea"/>
                <a:cs typeface="Segoe UI" panose="020B0502040204020203" pitchFamily="34" charset="0"/>
              </a:rPr>
              <a:t>laaS</a:t>
            </a: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grpSp>
        <p:nvGrpSpPr>
          <p:cNvPr id="101" name="Group 100" descr="Microsoft Azure">
            <a:extLst>
              <a:ext uri="{FF2B5EF4-FFF2-40B4-BE49-F238E27FC236}">
                <a16:creationId xmlns:a16="http://schemas.microsoft.com/office/drawing/2014/main" id="{96283532-5F64-4469-98C4-E20A466A20CF}"/>
              </a:ext>
            </a:extLst>
          </p:cNvPr>
          <p:cNvGrpSpPr/>
          <p:nvPr/>
        </p:nvGrpSpPr>
        <p:grpSpPr>
          <a:xfrm>
            <a:off x="8290987" y="5835221"/>
            <a:ext cx="2122775" cy="348996"/>
            <a:chOff x="8393658" y="6449927"/>
            <a:chExt cx="2122775" cy="348996"/>
          </a:xfrm>
        </p:grpSpPr>
        <p:pic>
          <p:nvPicPr>
            <p:cNvPr id="102" name="Picture 101" descr="Microsoft Azure Logo&#10;">
              <a:extLst>
                <a:ext uri="{FF2B5EF4-FFF2-40B4-BE49-F238E27FC236}">
                  <a16:creationId xmlns:a16="http://schemas.microsoft.com/office/drawing/2014/main" id="{5C57FDE9-EE15-41E2-9B4B-B0EC2A335456}"/>
                </a:ext>
              </a:extLst>
            </p:cNvPr>
            <p:cNvPicPr>
              <a:picLocks noChangeAspect="1"/>
            </p:cNvPicPr>
            <p:nvPr/>
          </p:nvPicPr>
          <p:blipFill rotWithShape="1">
            <a:blip r:embed="rId2"/>
            <a:srcRect l="8636" t="23738" r="75972" b="29140"/>
            <a:stretch/>
          </p:blipFill>
          <p:spPr>
            <a:xfrm>
              <a:off x="8393658" y="6449927"/>
              <a:ext cx="344644" cy="348995"/>
            </a:xfrm>
            <a:prstGeom prst="rect">
              <a:avLst/>
            </a:prstGeom>
          </p:spPr>
        </p:pic>
        <p:pic>
          <p:nvPicPr>
            <p:cNvPr id="103" name="Picture 102" descr="Microsoft Azure Logo&#10;">
              <a:extLst>
                <a:ext uri="{FF2B5EF4-FFF2-40B4-BE49-F238E27FC236}">
                  <a16:creationId xmlns:a16="http://schemas.microsoft.com/office/drawing/2014/main" id="{DAFBF4C9-0B67-4BFE-A488-0E2EA78AD518}"/>
                </a:ext>
              </a:extLst>
            </p:cNvPr>
            <p:cNvPicPr>
              <a:picLocks noChangeAspect="1"/>
            </p:cNvPicPr>
            <p:nvPr/>
          </p:nvPicPr>
          <p:blipFill rotWithShape="1">
            <a:blip r:embed="rId2">
              <a:biLevel thresh="25000"/>
            </a:blip>
            <a:srcRect l="23707" t="30928" b="29139"/>
            <a:stretch/>
          </p:blipFill>
          <p:spPr>
            <a:xfrm>
              <a:off x="8808156" y="6503179"/>
              <a:ext cx="1708277" cy="295744"/>
            </a:xfrm>
            <a:prstGeom prst="rect">
              <a:avLst/>
            </a:prstGeom>
          </p:spPr>
        </p:pic>
      </p:grpSp>
      <p:grpSp>
        <p:nvGrpSpPr>
          <p:cNvPr id="120" name="Group 119">
            <a:extLst>
              <a:ext uri="{FF2B5EF4-FFF2-40B4-BE49-F238E27FC236}">
                <a16:creationId xmlns:a16="http://schemas.microsoft.com/office/drawing/2014/main" id="{728974BB-5190-4CD3-8C03-C5109C6F37C5}"/>
              </a:ext>
              <a:ext uri="{C183D7F6-B498-43B3-948B-1728B52AA6E4}">
                <adec:decorative xmlns:adec="http://schemas.microsoft.com/office/drawing/2017/decorative" xmlns="" val="1"/>
              </a:ext>
            </a:extLst>
          </p:cNvPr>
          <p:cNvGrpSpPr/>
          <p:nvPr/>
        </p:nvGrpSpPr>
        <p:grpSpPr>
          <a:xfrm>
            <a:off x="3263171" y="4456419"/>
            <a:ext cx="1686848" cy="739583"/>
            <a:chOff x="2496353" y="2529504"/>
            <a:chExt cx="1064511" cy="466725"/>
          </a:xfrm>
        </p:grpSpPr>
        <p:pic>
          <p:nvPicPr>
            <p:cNvPr id="121" name="Server" descr="Server">
              <a:extLst>
                <a:ext uri="{FF2B5EF4-FFF2-40B4-BE49-F238E27FC236}">
                  <a16:creationId xmlns:a16="http://schemas.microsoft.com/office/drawing/2014/main" id="{1184CC69-D87D-4276-A392-9EF636D1D28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496353" y="2529504"/>
              <a:ext cx="466725" cy="466725"/>
            </a:xfrm>
            <a:prstGeom prst="rect">
              <a:avLst/>
            </a:prstGeom>
          </p:spPr>
        </p:pic>
        <p:pic>
          <p:nvPicPr>
            <p:cNvPr id="122" name="Server" descr="Server">
              <a:extLst>
                <a:ext uri="{FF2B5EF4-FFF2-40B4-BE49-F238E27FC236}">
                  <a16:creationId xmlns:a16="http://schemas.microsoft.com/office/drawing/2014/main" id="{E3970084-078C-4954-A33C-2E5C54FC58B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795246" y="2529504"/>
              <a:ext cx="466725" cy="466725"/>
            </a:xfrm>
            <a:prstGeom prst="rect">
              <a:avLst/>
            </a:prstGeom>
          </p:spPr>
        </p:pic>
        <p:pic>
          <p:nvPicPr>
            <p:cNvPr id="123" name="Server" descr="Server">
              <a:extLst>
                <a:ext uri="{FF2B5EF4-FFF2-40B4-BE49-F238E27FC236}">
                  <a16:creationId xmlns:a16="http://schemas.microsoft.com/office/drawing/2014/main" id="{B2D768AA-12AB-4C84-893C-B8D1D7AC94F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94139" y="2529504"/>
              <a:ext cx="466725" cy="466725"/>
            </a:xfrm>
            <a:prstGeom prst="rect">
              <a:avLst/>
            </a:prstGeom>
          </p:spPr>
        </p:pic>
      </p:grpSp>
      <p:grpSp>
        <p:nvGrpSpPr>
          <p:cNvPr id="124" name="Group 123">
            <a:extLst>
              <a:ext uri="{FF2B5EF4-FFF2-40B4-BE49-F238E27FC236}">
                <a16:creationId xmlns:a16="http://schemas.microsoft.com/office/drawing/2014/main" id="{F67F397E-52E7-47E0-9E76-40EB57F9C53A}"/>
              </a:ext>
              <a:ext uri="{C183D7F6-B498-43B3-948B-1728B52AA6E4}">
                <adec:decorative xmlns:adec="http://schemas.microsoft.com/office/drawing/2017/decorative" xmlns="" val="1"/>
              </a:ext>
            </a:extLst>
          </p:cNvPr>
          <p:cNvGrpSpPr/>
          <p:nvPr/>
        </p:nvGrpSpPr>
        <p:grpSpPr>
          <a:xfrm>
            <a:off x="9815400" y="4456419"/>
            <a:ext cx="1686848" cy="739583"/>
            <a:chOff x="2496353" y="2529504"/>
            <a:chExt cx="1064511" cy="466725"/>
          </a:xfrm>
        </p:grpSpPr>
        <p:pic>
          <p:nvPicPr>
            <p:cNvPr id="126" name="Server" descr="Server">
              <a:extLst>
                <a:ext uri="{FF2B5EF4-FFF2-40B4-BE49-F238E27FC236}">
                  <a16:creationId xmlns:a16="http://schemas.microsoft.com/office/drawing/2014/main" id="{F73F722C-1A8F-49D9-A9C1-ACB42974A23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496353" y="2529504"/>
              <a:ext cx="466725" cy="466725"/>
            </a:xfrm>
            <a:prstGeom prst="rect">
              <a:avLst/>
            </a:prstGeom>
          </p:spPr>
        </p:pic>
        <p:pic>
          <p:nvPicPr>
            <p:cNvPr id="128" name="Server" descr="Server">
              <a:extLst>
                <a:ext uri="{FF2B5EF4-FFF2-40B4-BE49-F238E27FC236}">
                  <a16:creationId xmlns:a16="http://schemas.microsoft.com/office/drawing/2014/main" id="{3F6BCB78-703D-40B4-8BDA-8423D5C4EFC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795246" y="2529504"/>
              <a:ext cx="466725" cy="466725"/>
            </a:xfrm>
            <a:prstGeom prst="rect">
              <a:avLst/>
            </a:prstGeom>
          </p:spPr>
        </p:pic>
        <p:pic>
          <p:nvPicPr>
            <p:cNvPr id="133" name="Server" descr="Server">
              <a:extLst>
                <a:ext uri="{FF2B5EF4-FFF2-40B4-BE49-F238E27FC236}">
                  <a16:creationId xmlns:a16="http://schemas.microsoft.com/office/drawing/2014/main" id="{5E95D8F0-9DD9-4D34-A091-586D9B65DB3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94139" y="2529504"/>
              <a:ext cx="466725" cy="466725"/>
            </a:xfrm>
            <a:prstGeom prst="rect">
              <a:avLst/>
            </a:prstGeom>
          </p:spPr>
        </p:pic>
      </p:grpSp>
      <p:grpSp>
        <p:nvGrpSpPr>
          <p:cNvPr id="134" name="Graphic 78">
            <a:extLst>
              <a:ext uri="{FF2B5EF4-FFF2-40B4-BE49-F238E27FC236}">
                <a16:creationId xmlns:a16="http://schemas.microsoft.com/office/drawing/2014/main" id="{AE73979B-6F2B-4117-8732-C35EE3774655}"/>
              </a:ext>
              <a:ext uri="{C183D7F6-B498-43B3-948B-1728B52AA6E4}">
                <adec:decorative xmlns:adec="http://schemas.microsoft.com/office/drawing/2017/decorative" xmlns="" val="1"/>
              </a:ext>
            </a:extLst>
          </p:cNvPr>
          <p:cNvGrpSpPr/>
          <p:nvPr/>
        </p:nvGrpSpPr>
        <p:grpSpPr>
          <a:xfrm>
            <a:off x="9028387" y="4457891"/>
            <a:ext cx="795462" cy="736639"/>
            <a:chOff x="9205953" y="4602765"/>
            <a:chExt cx="617895" cy="572203"/>
          </a:xfrm>
          <a:solidFill>
            <a:srgbClr val="0078D4"/>
          </a:solidFill>
        </p:grpSpPr>
        <p:sp>
          <p:nvSpPr>
            <p:cNvPr id="135" name="Freeform: Shape 134">
              <a:extLst>
                <a:ext uri="{FF2B5EF4-FFF2-40B4-BE49-F238E27FC236}">
                  <a16:creationId xmlns:a16="http://schemas.microsoft.com/office/drawing/2014/main" id="{05EB5BF9-2C56-4469-ABE3-C6A4D0D10624}"/>
                </a:ext>
              </a:extLst>
            </p:cNvPr>
            <p:cNvSpPr/>
            <p:nvPr/>
          </p:nvSpPr>
          <p:spPr>
            <a:xfrm>
              <a:off x="9205953" y="4602765"/>
              <a:ext cx="617895" cy="572203"/>
            </a:xfrm>
            <a:custGeom>
              <a:avLst/>
              <a:gdLst>
                <a:gd name="connsiteX0" fmla="*/ 580457 w 617895"/>
                <a:gd name="connsiteY0" fmla="*/ 0 h 572203"/>
                <a:gd name="connsiteX1" fmla="*/ 33280 w 617895"/>
                <a:gd name="connsiteY1" fmla="*/ 0 h 572203"/>
                <a:gd name="connsiteX2" fmla="*/ 2 w 617895"/>
                <a:gd name="connsiteY2" fmla="*/ 35220 h 572203"/>
                <a:gd name="connsiteX3" fmla="*/ 2 w 617895"/>
                <a:gd name="connsiteY3" fmla="*/ 417885 h 572203"/>
                <a:gd name="connsiteX4" fmla="*/ 33280 w 617895"/>
                <a:gd name="connsiteY4" fmla="*/ 452939 h 572203"/>
                <a:gd name="connsiteX5" fmla="*/ 220637 w 617895"/>
                <a:gd name="connsiteY5" fmla="*/ 452939 h 572203"/>
                <a:gd name="connsiteX6" fmla="*/ 94845 w 617895"/>
                <a:gd name="connsiteY6" fmla="*/ 534646 h 572203"/>
                <a:gd name="connsiteX7" fmla="*/ 94845 w 617895"/>
                <a:gd name="connsiteY7" fmla="*/ 572203 h 572203"/>
                <a:gd name="connsiteX8" fmla="*/ 498842 w 617895"/>
                <a:gd name="connsiteY8" fmla="*/ 572203 h 572203"/>
                <a:gd name="connsiteX9" fmla="*/ 498842 w 617895"/>
                <a:gd name="connsiteY9" fmla="*/ 534646 h 572203"/>
                <a:gd name="connsiteX10" fmla="*/ 388276 w 617895"/>
                <a:gd name="connsiteY10" fmla="*/ 452939 h 572203"/>
                <a:gd name="connsiteX11" fmla="*/ 580457 w 617895"/>
                <a:gd name="connsiteY11" fmla="*/ 452939 h 572203"/>
                <a:gd name="connsiteX12" fmla="*/ 617895 w 617895"/>
                <a:gd name="connsiteY12" fmla="*/ 417885 h 572203"/>
                <a:gd name="connsiteX13" fmla="*/ 617895 w 617895"/>
                <a:gd name="connsiteY13" fmla="*/ 35220 h 572203"/>
                <a:gd name="connsiteX14" fmla="*/ 580457 w 617895"/>
                <a:gd name="connsiteY14" fmla="*/ 0 h 572203"/>
                <a:gd name="connsiteX15" fmla="*/ 570224 w 617895"/>
                <a:gd name="connsiteY15" fmla="*/ 47572 h 572203"/>
                <a:gd name="connsiteX16" fmla="*/ 570224 w 617895"/>
                <a:gd name="connsiteY16" fmla="*/ 405283 h 572203"/>
                <a:gd name="connsiteX17" fmla="*/ 47174 w 617895"/>
                <a:gd name="connsiteY17" fmla="*/ 405283 h 572203"/>
                <a:gd name="connsiteX18" fmla="*/ 47174 w 617895"/>
                <a:gd name="connsiteY18" fmla="*/ 47572 h 572203"/>
                <a:gd name="connsiteX19" fmla="*/ 571805 w 617895"/>
                <a:gd name="connsiteY19" fmla="*/ 46571 h 57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895" h="572203">
                  <a:moveTo>
                    <a:pt x="580457" y="0"/>
                  </a:moveTo>
                  <a:lnTo>
                    <a:pt x="33280" y="0"/>
                  </a:lnTo>
                  <a:cubicBezTo>
                    <a:pt x="14551" y="852"/>
                    <a:pt x="-152" y="16412"/>
                    <a:pt x="2" y="35220"/>
                  </a:cubicBezTo>
                  <a:lnTo>
                    <a:pt x="2" y="417885"/>
                  </a:lnTo>
                  <a:cubicBezTo>
                    <a:pt x="-192" y="436680"/>
                    <a:pt x="14558" y="452217"/>
                    <a:pt x="33280" y="452939"/>
                  </a:cubicBezTo>
                  <a:lnTo>
                    <a:pt x="220637" y="452939"/>
                  </a:lnTo>
                  <a:cubicBezTo>
                    <a:pt x="240936" y="524547"/>
                    <a:pt x="213731" y="534646"/>
                    <a:pt x="94845" y="534646"/>
                  </a:cubicBezTo>
                  <a:lnTo>
                    <a:pt x="94845" y="572203"/>
                  </a:lnTo>
                  <a:lnTo>
                    <a:pt x="498842" y="572203"/>
                  </a:lnTo>
                  <a:lnTo>
                    <a:pt x="498842" y="534646"/>
                  </a:lnTo>
                  <a:cubicBezTo>
                    <a:pt x="379956" y="534563"/>
                    <a:pt x="368392" y="524547"/>
                    <a:pt x="388276" y="452939"/>
                  </a:cubicBezTo>
                  <a:lnTo>
                    <a:pt x="580457" y="452939"/>
                  </a:lnTo>
                  <a:cubicBezTo>
                    <a:pt x="600039" y="452586"/>
                    <a:pt x="616196" y="437458"/>
                    <a:pt x="617895" y="417885"/>
                  </a:cubicBezTo>
                  <a:lnTo>
                    <a:pt x="617895" y="35220"/>
                  </a:lnTo>
                  <a:cubicBezTo>
                    <a:pt x="616202" y="15617"/>
                    <a:pt x="600067" y="437"/>
                    <a:pt x="580457" y="0"/>
                  </a:cubicBezTo>
                  <a:close/>
                  <a:moveTo>
                    <a:pt x="570224" y="47572"/>
                  </a:moveTo>
                  <a:lnTo>
                    <a:pt x="570224" y="405283"/>
                  </a:lnTo>
                  <a:lnTo>
                    <a:pt x="47174" y="405283"/>
                  </a:lnTo>
                  <a:lnTo>
                    <a:pt x="47174" y="47572"/>
                  </a:lnTo>
                  <a:lnTo>
                    <a:pt x="571805" y="46571"/>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36" name="Graphic 78">
              <a:extLst>
                <a:ext uri="{FF2B5EF4-FFF2-40B4-BE49-F238E27FC236}">
                  <a16:creationId xmlns:a16="http://schemas.microsoft.com/office/drawing/2014/main" id="{E85D86DD-51E8-432F-92F3-26502DD5EC15}"/>
                </a:ext>
              </a:extLst>
            </p:cNvPr>
            <p:cNvGrpSpPr/>
            <p:nvPr/>
          </p:nvGrpSpPr>
          <p:grpSpPr>
            <a:xfrm>
              <a:off x="9402878" y="4706256"/>
              <a:ext cx="211483" cy="239196"/>
              <a:chOff x="9402878" y="4706256"/>
              <a:chExt cx="211483" cy="239196"/>
            </a:xfrm>
            <a:solidFill>
              <a:srgbClr val="0078D4"/>
            </a:solidFill>
          </p:grpSpPr>
          <p:sp>
            <p:nvSpPr>
              <p:cNvPr id="137" name="Freeform: Shape 136">
                <a:extLst>
                  <a:ext uri="{FF2B5EF4-FFF2-40B4-BE49-F238E27FC236}">
                    <a16:creationId xmlns:a16="http://schemas.microsoft.com/office/drawing/2014/main" id="{B35D453A-75F2-48CE-A7F8-FF35BBA0BB6C}"/>
                  </a:ext>
                </a:extLst>
              </p:cNvPr>
              <p:cNvSpPr/>
              <p:nvPr/>
            </p:nvSpPr>
            <p:spPr>
              <a:xfrm>
                <a:off x="9412779" y="4706256"/>
                <a:ext cx="191848" cy="112838"/>
              </a:xfrm>
              <a:custGeom>
                <a:avLst/>
                <a:gdLst>
                  <a:gd name="connsiteX0" fmla="*/ 191849 w 191848"/>
                  <a:gd name="connsiteY0" fmla="*/ 55918 h 112838"/>
                  <a:gd name="connsiteX1" fmla="*/ 95925 w 191848"/>
                  <a:gd name="connsiteY1" fmla="*/ 0 h 112838"/>
                  <a:gd name="connsiteX2" fmla="*/ 0 w 191848"/>
                  <a:gd name="connsiteY2" fmla="*/ 55918 h 112838"/>
                  <a:gd name="connsiteX3" fmla="*/ 0 w 191848"/>
                  <a:gd name="connsiteY3" fmla="*/ 57254 h 112838"/>
                  <a:gd name="connsiteX4" fmla="*/ 95925 w 191848"/>
                  <a:gd name="connsiteY4" fmla="*/ 112838 h 112838"/>
                  <a:gd name="connsiteX5" fmla="*/ 191849 w 191848"/>
                  <a:gd name="connsiteY5" fmla="*/ 57254 h 11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848" h="112838">
                    <a:moveTo>
                      <a:pt x="191849" y="55918"/>
                    </a:moveTo>
                    <a:lnTo>
                      <a:pt x="95925" y="0"/>
                    </a:lnTo>
                    <a:lnTo>
                      <a:pt x="0" y="55918"/>
                    </a:lnTo>
                    <a:lnTo>
                      <a:pt x="0" y="57254"/>
                    </a:lnTo>
                    <a:lnTo>
                      <a:pt x="95925" y="112838"/>
                    </a:lnTo>
                    <a:lnTo>
                      <a:pt x="191849" y="57254"/>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1C4C5402-9037-4AF0-8330-DDC0BC7EABB6}"/>
                  </a:ext>
                </a:extLst>
              </p:cNvPr>
              <p:cNvSpPr/>
              <p:nvPr/>
            </p:nvSpPr>
            <p:spPr>
              <a:xfrm>
                <a:off x="9518520" y="4780035"/>
                <a:ext cx="95841" cy="165334"/>
              </a:xfrm>
              <a:custGeom>
                <a:avLst/>
                <a:gdLst>
                  <a:gd name="connsiteX0" fmla="*/ 0 w 95841"/>
                  <a:gd name="connsiteY0" fmla="*/ 55585 h 165334"/>
                  <a:gd name="connsiteX1" fmla="*/ 0 w 95841"/>
                  <a:gd name="connsiteY1" fmla="*/ 165335 h 165334"/>
                  <a:gd name="connsiteX2" fmla="*/ 95841 w 95841"/>
                  <a:gd name="connsiteY2" fmla="*/ 109834 h 165334"/>
                  <a:gd name="connsiteX3" fmla="*/ 95841 w 95841"/>
                  <a:gd name="connsiteY3" fmla="*/ 0 h 165334"/>
                </a:gdLst>
                <a:ahLst/>
                <a:cxnLst>
                  <a:cxn ang="0">
                    <a:pos x="connsiteX0" y="connsiteY0"/>
                  </a:cxn>
                  <a:cxn ang="0">
                    <a:pos x="connsiteX1" y="connsiteY1"/>
                  </a:cxn>
                  <a:cxn ang="0">
                    <a:pos x="connsiteX2" y="connsiteY2"/>
                  </a:cxn>
                  <a:cxn ang="0">
                    <a:pos x="connsiteX3" y="connsiteY3"/>
                  </a:cxn>
                </a:cxnLst>
                <a:rect l="l" t="t" r="r" b="b"/>
                <a:pathLst>
                  <a:path w="95841" h="165334">
                    <a:moveTo>
                      <a:pt x="0" y="55585"/>
                    </a:moveTo>
                    <a:lnTo>
                      <a:pt x="0" y="165335"/>
                    </a:lnTo>
                    <a:lnTo>
                      <a:pt x="95841" y="109834"/>
                    </a:lnTo>
                    <a:lnTo>
                      <a:pt x="95841" y="0"/>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85BDE228-EE1F-4657-9375-102023029F5B}"/>
                  </a:ext>
                </a:extLst>
              </p:cNvPr>
              <p:cNvSpPr/>
              <p:nvPr/>
            </p:nvSpPr>
            <p:spPr>
              <a:xfrm>
                <a:off x="9402878" y="4780035"/>
                <a:ext cx="96007" cy="165418"/>
              </a:xfrm>
              <a:custGeom>
                <a:avLst/>
                <a:gdLst>
                  <a:gd name="connsiteX0" fmla="*/ 96008 w 96007"/>
                  <a:gd name="connsiteY0" fmla="*/ 55585 h 165418"/>
                  <a:gd name="connsiteX1" fmla="*/ 0 w 96007"/>
                  <a:gd name="connsiteY1" fmla="*/ 0 h 165418"/>
                  <a:gd name="connsiteX2" fmla="*/ 0 w 96007"/>
                  <a:gd name="connsiteY2" fmla="*/ 109834 h 165418"/>
                  <a:gd name="connsiteX3" fmla="*/ 95924 w 96007"/>
                  <a:gd name="connsiteY3" fmla="*/ 165418 h 165418"/>
                </a:gdLst>
                <a:ahLst/>
                <a:cxnLst>
                  <a:cxn ang="0">
                    <a:pos x="connsiteX0" y="connsiteY0"/>
                  </a:cxn>
                  <a:cxn ang="0">
                    <a:pos x="connsiteX1" y="connsiteY1"/>
                  </a:cxn>
                  <a:cxn ang="0">
                    <a:pos x="connsiteX2" y="connsiteY2"/>
                  </a:cxn>
                  <a:cxn ang="0">
                    <a:pos x="connsiteX3" y="connsiteY3"/>
                  </a:cxn>
                </a:cxnLst>
                <a:rect l="l" t="t" r="r" b="b"/>
                <a:pathLst>
                  <a:path w="96007" h="165418">
                    <a:moveTo>
                      <a:pt x="96008" y="55585"/>
                    </a:moveTo>
                    <a:lnTo>
                      <a:pt x="0" y="0"/>
                    </a:lnTo>
                    <a:lnTo>
                      <a:pt x="0" y="109834"/>
                    </a:lnTo>
                    <a:lnTo>
                      <a:pt x="95924" y="165418"/>
                    </a:lnTo>
                    <a:close/>
                  </a:path>
                </a:pathLst>
              </a:custGeom>
              <a:solidFill>
                <a:schemeClr val="accent1"/>
              </a:solidFill>
              <a:ln w="210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034DEF6-D622-4EEA-A1B4-8F8CB862B919}"/>
              </a:ext>
              <a:ext uri="{C183D7F6-B498-43B3-948B-1728B52AA6E4}">
                <adec:decorative xmlns:adec="http://schemas.microsoft.com/office/drawing/2017/decorative" xmlns="" val="1"/>
              </a:ext>
            </a:extLst>
          </p:cNvPr>
          <p:cNvGrpSpPr/>
          <p:nvPr/>
        </p:nvGrpSpPr>
        <p:grpSpPr>
          <a:xfrm>
            <a:off x="10025646" y="2558565"/>
            <a:ext cx="1226842" cy="1127452"/>
            <a:chOff x="10025646" y="2538257"/>
            <a:chExt cx="1226842" cy="1127452"/>
          </a:xfrm>
        </p:grpSpPr>
        <p:pic>
          <p:nvPicPr>
            <p:cNvPr id="143" name="Graphic 142" descr="Virtual Machines">
              <a:extLst>
                <a:ext uri="{FF2B5EF4-FFF2-40B4-BE49-F238E27FC236}">
                  <a16:creationId xmlns:a16="http://schemas.microsoft.com/office/drawing/2014/main" id="{CB2B6BD8-7169-443C-B552-0FCDD1834A6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025646" y="3125553"/>
              <a:ext cx="529337" cy="529338"/>
            </a:xfrm>
            <a:prstGeom prst="rect">
              <a:avLst/>
            </a:prstGeom>
          </p:spPr>
        </p:pic>
        <p:pic>
          <p:nvPicPr>
            <p:cNvPr id="144" name="Graphic 143" descr="Virtual Machines">
              <a:extLst>
                <a:ext uri="{FF2B5EF4-FFF2-40B4-BE49-F238E27FC236}">
                  <a16:creationId xmlns:a16="http://schemas.microsoft.com/office/drawing/2014/main" id="{CEF5E907-D7C5-45F8-94E0-A74EF3EB103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723151" y="3136371"/>
              <a:ext cx="529337" cy="529338"/>
            </a:xfrm>
            <a:prstGeom prst="rect">
              <a:avLst/>
            </a:prstGeom>
          </p:spPr>
        </p:pic>
        <p:pic>
          <p:nvPicPr>
            <p:cNvPr id="145" name="Graphic 144" descr="Virtual Machines">
              <a:extLst>
                <a:ext uri="{FF2B5EF4-FFF2-40B4-BE49-F238E27FC236}">
                  <a16:creationId xmlns:a16="http://schemas.microsoft.com/office/drawing/2014/main" id="{FCA2395B-37DC-452A-9937-989F91FD2D1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374399" y="2538257"/>
              <a:ext cx="529337" cy="529338"/>
            </a:xfrm>
            <a:prstGeom prst="rect">
              <a:avLst/>
            </a:prstGeom>
          </p:spPr>
        </p:pic>
      </p:grpSp>
      <p:pic>
        <p:nvPicPr>
          <p:cNvPr id="147" name="Graphic 146" descr="Windows App">
            <a:extLst>
              <a:ext uri="{FF2B5EF4-FFF2-40B4-BE49-F238E27FC236}">
                <a16:creationId xmlns:a16="http://schemas.microsoft.com/office/drawing/2014/main" id="{4E03B5BF-478C-4A33-87B2-AB76CCB5937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940731" y="2856633"/>
            <a:ext cx="531314" cy="531317"/>
          </a:xfrm>
          <a:prstGeom prst="rect">
            <a:avLst/>
          </a:prstGeom>
        </p:spPr>
      </p:pic>
      <p:grpSp>
        <p:nvGrpSpPr>
          <p:cNvPr id="148" name="Group 147">
            <a:extLst>
              <a:ext uri="{FF2B5EF4-FFF2-40B4-BE49-F238E27FC236}">
                <a16:creationId xmlns:a16="http://schemas.microsoft.com/office/drawing/2014/main" id="{D7E9137A-B4A0-4973-A7A2-A13C94DEE06C}"/>
              </a:ext>
              <a:ext uri="{C183D7F6-B498-43B3-948B-1728B52AA6E4}">
                <adec:decorative xmlns:adec="http://schemas.microsoft.com/office/drawing/2017/decorative" xmlns="" val="1"/>
              </a:ext>
            </a:extLst>
          </p:cNvPr>
          <p:cNvGrpSpPr/>
          <p:nvPr/>
        </p:nvGrpSpPr>
        <p:grpSpPr>
          <a:xfrm>
            <a:off x="3640213" y="2707959"/>
            <a:ext cx="1139857" cy="828664"/>
            <a:chOff x="2377485" y="2437059"/>
            <a:chExt cx="1013766" cy="736997"/>
          </a:xfrm>
          <a:solidFill>
            <a:srgbClr val="2D2D31"/>
          </a:solidFill>
        </p:grpSpPr>
        <p:pic>
          <p:nvPicPr>
            <p:cNvPr id="149" name="Graphic 148">
              <a:extLst>
                <a:ext uri="{FF2B5EF4-FFF2-40B4-BE49-F238E27FC236}">
                  <a16:creationId xmlns:a16="http://schemas.microsoft.com/office/drawing/2014/main" id="{052A924C-5113-4545-AE71-E36C6E486B4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665324" y="2437059"/>
              <a:ext cx="455750" cy="457200"/>
            </a:xfrm>
            <a:prstGeom prst="rect">
              <a:avLst/>
            </a:prstGeom>
          </p:spPr>
        </p:pic>
        <p:pic>
          <p:nvPicPr>
            <p:cNvPr id="150" name="Graphic 149">
              <a:extLst>
                <a:ext uri="{FF2B5EF4-FFF2-40B4-BE49-F238E27FC236}">
                  <a16:creationId xmlns:a16="http://schemas.microsoft.com/office/drawing/2014/main" id="{C32397B3-BCEB-4826-928B-28F27D321F3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935501" y="2712045"/>
              <a:ext cx="455750" cy="457200"/>
            </a:xfrm>
            <a:prstGeom prst="rect">
              <a:avLst/>
            </a:prstGeom>
          </p:spPr>
        </p:pic>
        <p:pic>
          <p:nvPicPr>
            <p:cNvPr id="153" name="Graphic 152">
              <a:extLst>
                <a:ext uri="{FF2B5EF4-FFF2-40B4-BE49-F238E27FC236}">
                  <a16:creationId xmlns:a16="http://schemas.microsoft.com/office/drawing/2014/main" id="{D2CDEFC5-A044-49E9-97B1-78389A12B16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377485" y="2716856"/>
              <a:ext cx="455750" cy="457200"/>
            </a:xfrm>
            <a:prstGeom prst="rect">
              <a:avLst/>
            </a:prstGeom>
          </p:spPr>
        </p:pic>
      </p:grpSp>
      <p:sp>
        <p:nvSpPr>
          <p:cNvPr id="46" name="Rectangle 45">
            <a:extLst>
              <a:ext uri="{FF2B5EF4-FFF2-40B4-BE49-F238E27FC236}">
                <a16:creationId xmlns:a16="http://schemas.microsoft.com/office/drawing/2014/main" id="{9CA3BA3A-978E-49A2-BA24-E713B6F3E698}"/>
              </a:ext>
            </a:extLst>
          </p:cNvPr>
          <p:cNvSpPr/>
          <p:nvPr/>
        </p:nvSpPr>
        <p:spPr>
          <a:xfrm>
            <a:off x="915722" y="1870513"/>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sp>
        <p:nvSpPr>
          <p:cNvPr id="47" name="Rectangle 46">
            <a:extLst>
              <a:ext uri="{FF2B5EF4-FFF2-40B4-BE49-F238E27FC236}">
                <a16:creationId xmlns:a16="http://schemas.microsoft.com/office/drawing/2014/main" id="{2C12ECED-48B3-4E82-98D7-9F9BEA1A6768}"/>
              </a:ext>
            </a:extLst>
          </p:cNvPr>
          <p:cNvSpPr/>
          <p:nvPr/>
        </p:nvSpPr>
        <p:spPr>
          <a:xfrm>
            <a:off x="7325258" y="1874377"/>
            <a:ext cx="192681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VDI Deployment</a:t>
            </a:r>
          </a:p>
        </p:txBody>
      </p:sp>
      <p:grpSp>
        <p:nvGrpSpPr>
          <p:cNvPr id="8" name="Group 7" descr="List of Hyper-V VMware AWS Google Cloud">
            <a:extLst>
              <a:ext uri="{FF2B5EF4-FFF2-40B4-BE49-F238E27FC236}">
                <a16:creationId xmlns:a16="http://schemas.microsoft.com/office/drawing/2014/main" id="{BD44C04C-3160-45A5-A9A7-6A84532F2D6C}"/>
              </a:ext>
            </a:extLst>
          </p:cNvPr>
          <p:cNvGrpSpPr/>
          <p:nvPr/>
        </p:nvGrpSpPr>
        <p:grpSpPr>
          <a:xfrm>
            <a:off x="745249" y="5901453"/>
            <a:ext cx="4311053" cy="317953"/>
            <a:chOff x="745249" y="6253150"/>
            <a:chExt cx="4311053" cy="317953"/>
          </a:xfrm>
        </p:grpSpPr>
        <p:pic>
          <p:nvPicPr>
            <p:cNvPr id="4" name="Picture 3" descr="A picture containing drawing&#10;&#10;Description automatically generated">
              <a:extLst>
                <a:ext uri="{FF2B5EF4-FFF2-40B4-BE49-F238E27FC236}">
                  <a16:creationId xmlns:a16="http://schemas.microsoft.com/office/drawing/2014/main" id="{2EDA6420-5BBB-4403-A1CE-51C378190C9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3180" t="18325" r="24455" b="12066"/>
            <a:stretch/>
          </p:blipFill>
          <p:spPr>
            <a:xfrm>
              <a:off x="745249" y="6253150"/>
              <a:ext cx="1076325" cy="317953"/>
            </a:xfrm>
            <a:prstGeom prst="rect">
              <a:avLst/>
            </a:prstGeom>
          </p:spPr>
        </p:pic>
        <p:sp>
          <p:nvSpPr>
            <p:cNvPr id="5" name="TextBox 4">
              <a:extLst>
                <a:ext uri="{FF2B5EF4-FFF2-40B4-BE49-F238E27FC236}">
                  <a16:creationId xmlns:a16="http://schemas.microsoft.com/office/drawing/2014/main" id="{B8FE7CA9-970E-451D-BB27-E08CCD5D4570}"/>
                </a:ext>
              </a:extLst>
            </p:cNvPr>
            <p:cNvSpPr txBox="1"/>
            <p:nvPr/>
          </p:nvSpPr>
          <p:spPr>
            <a:xfrm>
              <a:off x="2018929" y="6290953"/>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6" name="TextBox 5">
              <a:extLst>
                <a:ext uri="{FF2B5EF4-FFF2-40B4-BE49-F238E27FC236}">
                  <a16:creationId xmlns:a16="http://schemas.microsoft.com/office/drawing/2014/main" id="{52F498B9-F27D-4E3C-840B-FD101C2976C3}"/>
                </a:ext>
              </a:extLst>
            </p:cNvPr>
            <p:cNvSpPr txBox="1"/>
            <p:nvPr/>
          </p:nvSpPr>
          <p:spPr>
            <a:xfrm>
              <a:off x="3057594" y="6319089"/>
              <a:ext cx="431077" cy="246221"/>
            </a:xfrm>
            <a:prstGeom prst="rect">
              <a:avLst/>
            </a:prstGeom>
            <a:noFill/>
          </p:spPr>
          <p:txBody>
            <a:bodyPr wrap="square" lIns="0" tIns="0" rIns="0" bIns="0" rtlCol="0">
              <a:spAutoFit/>
            </a:bodyPr>
            <a:lstStyle/>
            <a:p>
              <a:pPr algn="l"/>
              <a:r>
                <a:rPr lang="en-US" sz="1600" dirty="0">
                  <a:solidFill>
                    <a:schemeClr val="bg1"/>
                  </a:solidFill>
                </a:rPr>
                <a:t>AWS</a:t>
              </a:r>
            </a:p>
          </p:txBody>
        </p:sp>
        <p:sp>
          <p:nvSpPr>
            <p:cNvPr id="7" name="TextBox 6">
              <a:extLst>
                <a:ext uri="{FF2B5EF4-FFF2-40B4-BE49-F238E27FC236}">
                  <a16:creationId xmlns:a16="http://schemas.microsoft.com/office/drawing/2014/main" id="{FF365561-E618-4EC3-97C7-6522AFDFDE77}"/>
                </a:ext>
              </a:extLst>
            </p:cNvPr>
            <p:cNvSpPr txBox="1"/>
            <p:nvPr/>
          </p:nvSpPr>
          <p:spPr>
            <a:xfrm>
              <a:off x="3729066" y="6346814"/>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grpSp>
    </p:spTree>
    <p:extLst>
      <p:ext uri="{BB962C8B-B14F-4D97-AF65-F5344CB8AC3E}">
        <p14:creationId xmlns:p14="http://schemas.microsoft.com/office/powerpoint/2010/main" val="3001254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F9EB3-9ECD-48CB-8E85-7496B4D2D9D4}"/>
              </a:ext>
            </a:extLst>
          </p:cNvPr>
          <p:cNvSpPr>
            <a:spLocks noGrp="1"/>
          </p:cNvSpPr>
          <p:nvPr>
            <p:ph type="title"/>
          </p:nvPr>
        </p:nvSpPr>
        <p:spPr>
          <a:xfrm>
            <a:off x="532121" y="324900"/>
            <a:ext cx="10164981" cy="1020602"/>
          </a:xfrm>
        </p:spPr>
        <p:txBody>
          <a:bodyPr/>
          <a:lstStyle/>
          <a:p>
            <a:r>
              <a:rPr lang="en-US" sz="3200">
                <a:solidFill>
                  <a:schemeClr val="accent3"/>
                </a:solidFill>
              </a:rPr>
              <a:t>Modernizing your .NET applications to Azure App Service &amp; Azure SQL   </a:t>
            </a:r>
          </a:p>
        </p:txBody>
      </p:sp>
      <p:sp>
        <p:nvSpPr>
          <p:cNvPr id="43" name="Rectangle 42" descr="LOB App">
            <a:extLst>
              <a:ext uri="{FF2B5EF4-FFF2-40B4-BE49-F238E27FC236}">
                <a16:creationId xmlns:a16="http://schemas.microsoft.com/office/drawing/2014/main" id="{8AE494C2-33AA-4C5B-BBEA-DB1367D849B5}"/>
              </a:ext>
            </a:extLst>
          </p:cNvPr>
          <p:cNvSpPr/>
          <p:nvPr/>
        </p:nvSpPr>
        <p:spPr bwMode="auto">
          <a:xfrm>
            <a:off x="568192" y="1765738"/>
            <a:ext cx="4529584" cy="4046483"/>
          </a:xfrm>
          <a:prstGeom prst="rect">
            <a:avLst/>
          </a:prstGeom>
          <a:solidFill>
            <a:srgbClr val="3C3C4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44" name="Rectangle 43">
            <a:extLst>
              <a:ext uri="{FF2B5EF4-FFF2-40B4-BE49-F238E27FC236}">
                <a16:creationId xmlns:a16="http://schemas.microsoft.com/office/drawing/2014/main" id="{254004DB-FBD5-4694-8998-67BFCDA2A803}"/>
              </a:ext>
              <a:ext uri="{C183D7F6-B498-43B3-948B-1728B52AA6E4}">
                <adec:decorative xmlns:adec="http://schemas.microsoft.com/office/drawing/2017/decorative" xmlns="" val="1"/>
              </a:ext>
            </a:extLst>
          </p:cNvPr>
          <p:cNvSpPr/>
          <p:nvPr/>
        </p:nvSpPr>
        <p:spPr bwMode="auto">
          <a:xfrm>
            <a:off x="7091450" y="1765738"/>
            <a:ext cx="4521848" cy="4046483"/>
          </a:xfrm>
          <a:prstGeom prst="rect">
            <a:avLst/>
          </a:prstGeom>
          <a:solidFill>
            <a:srgbClr val="58585C"/>
          </a:solidFill>
          <a:ln w="6350"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endParaRPr>
          </a:p>
        </p:txBody>
      </p:sp>
      <p:sp>
        <p:nvSpPr>
          <p:cNvPr id="56" name="TextBox 55">
            <a:extLst>
              <a:ext uri="{FF2B5EF4-FFF2-40B4-BE49-F238E27FC236}">
                <a16:creationId xmlns:a16="http://schemas.microsoft.com/office/drawing/2014/main" id="{786529E2-98AD-482D-98CC-D7E880B94F73}"/>
              </a:ext>
            </a:extLst>
          </p:cNvPr>
          <p:cNvSpPr txBox="1"/>
          <p:nvPr/>
        </p:nvSpPr>
        <p:spPr>
          <a:xfrm>
            <a:off x="5204371" y="2848022"/>
            <a:ext cx="1780484" cy="553998"/>
          </a:xfrm>
          <a:prstGeom prst="rect">
            <a:avLst/>
          </a:prstGeom>
          <a:noFill/>
          <a:ln w="38100">
            <a:noFill/>
            <a:prstDash val="dash"/>
          </a:ln>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Server Migration</a:t>
            </a:r>
          </a:p>
        </p:txBody>
      </p:sp>
      <p:grpSp>
        <p:nvGrpSpPr>
          <p:cNvPr id="65" name="Group 64" descr="LOB App">
            <a:extLst>
              <a:ext uri="{FF2B5EF4-FFF2-40B4-BE49-F238E27FC236}">
                <a16:creationId xmlns:a16="http://schemas.microsoft.com/office/drawing/2014/main" id="{39B546B3-D59A-49A2-A591-A710985A430A}"/>
              </a:ext>
            </a:extLst>
          </p:cNvPr>
          <p:cNvGrpSpPr/>
          <p:nvPr/>
        </p:nvGrpSpPr>
        <p:grpSpPr>
          <a:xfrm>
            <a:off x="5834488" y="3529199"/>
            <a:ext cx="519561" cy="519561"/>
            <a:chOff x="5684522" y="3797244"/>
            <a:chExt cx="822960" cy="822960"/>
          </a:xfrm>
        </p:grpSpPr>
        <p:sp>
          <p:nvSpPr>
            <p:cNvPr id="66" name="Flowchart: Connector 65">
              <a:extLst>
                <a:ext uri="{FF2B5EF4-FFF2-40B4-BE49-F238E27FC236}">
                  <a16:creationId xmlns:a16="http://schemas.microsoft.com/office/drawing/2014/main" id="{344B1E76-3ABC-4FE6-8AAB-C2B7DC6C841C}"/>
                </a:ext>
              </a:extLst>
            </p:cNvPr>
            <p:cNvSpPr/>
            <p:nvPr/>
          </p:nvSpPr>
          <p:spPr bwMode="auto">
            <a:xfrm>
              <a:off x="5684522" y="3797244"/>
              <a:ext cx="822960" cy="822960"/>
            </a:xfrm>
            <a:prstGeom prst="flowChartConnector">
              <a:avLst/>
            </a:prstGeom>
            <a:solidFill>
              <a:schemeClr val="tx1"/>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D7D689F8-EFD7-407F-B2F5-9DC787972E05}"/>
                </a:ext>
              </a:extLst>
            </p:cNvPr>
            <p:cNvGrpSpPr/>
            <p:nvPr/>
          </p:nvGrpSpPr>
          <p:grpSpPr>
            <a:xfrm>
              <a:off x="5721046" y="3833770"/>
              <a:ext cx="749908" cy="749908"/>
              <a:chOff x="3195695" y="3058765"/>
              <a:chExt cx="457200" cy="457200"/>
            </a:xfrm>
            <a:solidFill>
              <a:srgbClr val="50E6FF"/>
            </a:solidFill>
          </p:grpSpPr>
          <p:sp>
            <p:nvSpPr>
              <p:cNvPr id="68" name="Flowchart: Connector 67">
                <a:extLst>
                  <a:ext uri="{FF2B5EF4-FFF2-40B4-BE49-F238E27FC236}">
                    <a16:creationId xmlns:a16="http://schemas.microsoft.com/office/drawing/2014/main" id="{02B111BC-47A9-48C3-BB61-AE5AE3810D1B}"/>
                  </a:ext>
                </a:extLst>
              </p:cNvPr>
              <p:cNvSpPr/>
              <p:nvPr/>
            </p:nvSpPr>
            <p:spPr bwMode="auto">
              <a:xfrm>
                <a:off x="3195695" y="3058765"/>
                <a:ext cx="457200" cy="457200"/>
              </a:xfrm>
              <a:prstGeom prst="flowChartConnector">
                <a:avLst/>
              </a:prstGeom>
              <a:grp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F8EFDC62-EC72-42B3-9417-DA40A80D638C}"/>
                  </a:ext>
                </a:extLst>
              </p:cNvPr>
              <p:cNvSpPr/>
              <p:nvPr/>
            </p:nvSpPr>
            <p:spPr bwMode="auto">
              <a:xfrm rot="5400000">
                <a:off x="3320912" y="3211544"/>
                <a:ext cx="248997" cy="151643"/>
              </a:xfrm>
              <a:prstGeom prst="triangl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0" name="Rectangle 41">
            <a:extLst>
              <a:ext uri="{FF2B5EF4-FFF2-40B4-BE49-F238E27FC236}">
                <a16:creationId xmlns:a16="http://schemas.microsoft.com/office/drawing/2014/main" id="{6AE12498-8687-441F-906F-1E40F0947BB7}"/>
              </a:ext>
            </a:extLst>
          </p:cNvPr>
          <p:cNvSpPr/>
          <p:nvPr/>
        </p:nvSpPr>
        <p:spPr bwMode="auto">
          <a:xfrm>
            <a:off x="707004" y="2346488"/>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Web/App layer</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NET)</a:t>
            </a:r>
          </a:p>
        </p:txBody>
      </p:sp>
      <p:sp>
        <p:nvSpPr>
          <p:cNvPr id="71" name="Rectangle 41">
            <a:extLst>
              <a:ext uri="{FF2B5EF4-FFF2-40B4-BE49-F238E27FC236}">
                <a16:creationId xmlns:a16="http://schemas.microsoft.com/office/drawing/2014/main" id="{8AA31427-025D-4120-90B7-ABB49E551022}"/>
              </a:ext>
            </a:extLst>
          </p:cNvPr>
          <p:cNvSpPr/>
          <p:nvPr/>
        </p:nvSpPr>
        <p:spPr bwMode="auto">
          <a:xfrm>
            <a:off x="707004" y="4050407"/>
            <a:ext cx="4251960" cy="1551607"/>
          </a:xfrm>
          <a:prstGeom prst="rect">
            <a:avLst/>
          </a:prstGeom>
          <a:solidFill>
            <a:srgbClr val="2D2D31"/>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Data layer</a:t>
            </a:r>
          </a:p>
        </p:txBody>
      </p:sp>
      <p:sp>
        <p:nvSpPr>
          <p:cNvPr id="72" name="Rectangle 41">
            <a:extLst>
              <a:ext uri="{FF2B5EF4-FFF2-40B4-BE49-F238E27FC236}">
                <a16:creationId xmlns:a16="http://schemas.microsoft.com/office/drawing/2014/main" id="{40CAE11F-2EC4-47A5-9F56-699FDBE2B3C2}"/>
              </a:ext>
            </a:extLst>
          </p:cNvPr>
          <p:cNvSpPr/>
          <p:nvPr/>
        </p:nvSpPr>
        <p:spPr bwMode="auto">
          <a:xfrm>
            <a:off x="7226394" y="2346488"/>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pp Service</a:t>
            </a:r>
          </a:p>
        </p:txBody>
      </p:sp>
      <p:sp>
        <p:nvSpPr>
          <p:cNvPr id="73" name="Rectangle 41">
            <a:extLst>
              <a:ext uri="{FF2B5EF4-FFF2-40B4-BE49-F238E27FC236}">
                <a16:creationId xmlns:a16="http://schemas.microsoft.com/office/drawing/2014/main" id="{57216CA2-3489-4475-83CE-D1DF6A049916}"/>
              </a:ext>
            </a:extLst>
          </p:cNvPr>
          <p:cNvSpPr/>
          <p:nvPr/>
        </p:nvSpPr>
        <p:spPr bwMode="auto">
          <a:xfrm>
            <a:off x="7226394" y="4050407"/>
            <a:ext cx="4251960" cy="1551607"/>
          </a:xfrm>
          <a:prstGeom prst="rect">
            <a:avLst/>
          </a:prstGeom>
          <a:solidFill>
            <a:srgbClr val="58585C"/>
          </a:solidFill>
          <a:ln w="12700" cap="flat" cmpd="sng" algn="ctr">
            <a:solidFill>
              <a:srgbClr val="50E6FF"/>
            </a:solidFill>
            <a:prstDash val="sysDash"/>
            <a:headEnd type="diamond" w="med" len="med"/>
            <a:tailEnd type="diamond" w="med" len="med"/>
          </a:ln>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t>Azure SQL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rPr>
            </a:br>
            <a:endParaRPr kumimoji="0" lang="en-US" sz="1800" b="0" i="0" u="none" strike="noStrike" kern="0" cap="none" spc="0" normalizeH="0" baseline="0" noProof="0">
              <a:ln w="3175">
                <a:noFill/>
              </a:ln>
              <a:solidFill>
                <a:prstClr val="white"/>
              </a:solidFill>
              <a:effectLst/>
              <a:uLnTx/>
              <a:uFillTx/>
              <a:latin typeface="Segoe UI Semibold"/>
              <a:ea typeface="+mn-ea"/>
              <a:cs typeface="Segoe UI" panose="020B0502040204020203" pitchFamily="34" charset="0"/>
            </a:endParaRPr>
          </a:p>
        </p:txBody>
      </p:sp>
      <p:pic>
        <p:nvPicPr>
          <p:cNvPr id="74" name="Picture 8" descr="Image result for SQL Database logo">
            <a:extLst>
              <a:ext uri="{FF2B5EF4-FFF2-40B4-BE49-F238E27FC236}">
                <a16:creationId xmlns:a16="http://schemas.microsoft.com/office/drawing/2014/main" id="{910B8F60-EA1D-4D4C-80B6-27EB6D6DA20B}"/>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9558" r="27134" b="17686"/>
          <a:stretch/>
        </p:blipFill>
        <p:spPr bwMode="auto">
          <a:xfrm>
            <a:off x="9454590" y="4448929"/>
            <a:ext cx="659940" cy="75456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Image result for SQL Database logo">
            <a:extLst>
              <a:ext uri="{FF2B5EF4-FFF2-40B4-BE49-F238E27FC236}">
                <a16:creationId xmlns:a16="http://schemas.microsoft.com/office/drawing/2014/main" id="{53E7FEC1-3663-4945-B2A0-410845B6B9F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9558" r="27134" b="17686"/>
          <a:stretch/>
        </p:blipFill>
        <p:spPr bwMode="auto">
          <a:xfrm>
            <a:off x="2940731" y="4448929"/>
            <a:ext cx="659940" cy="754562"/>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 83">
            <a:extLst>
              <a:ext uri="{FF2B5EF4-FFF2-40B4-BE49-F238E27FC236}">
                <a16:creationId xmlns:a16="http://schemas.microsoft.com/office/drawing/2014/main" id="{52BC6340-0DFE-47F5-8B17-5F7FD7FC3052}"/>
              </a:ext>
              <a:ext uri="{C183D7F6-B498-43B3-948B-1728B52AA6E4}">
                <adec:decorative xmlns:adec="http://schemas.microsoft.com/office/drawing/2017/decorative" xmlns="" val="1"/>
              </a:ext>
            </a:extLst>
          </p:cNvPr>
          <p:cNvGrpSpPr/>
          <p:nvPr/>
        </p:nvGrpSpPr>
        <p:grpSpPr>
          <a:xfrm>
            <a:off x="3727825" y="2706764"/>
            <a:ext cx="1097096" cy="831054"/>
            <a:chOff x="2295151" y="2493733"/>
            <a:chExt cx="1286530" cy="974549"/>
          </a:xfrm>
        </p:grpSpPr>
        <p:pic>
          <p:nvPicPr>
            <p:cNvPr id="85" name="Graphic 84" descr="Virtual Machines">
              <a:extLst>
                <a:ext uri="{FF2B5EF4-FFF2-40B4-BE49-F238E27FC236}">
                  <a16:creationId xmlns:a16="http://schemas.microsoft.com/office/drawing/2014/main" id="{5017E096-7CC3-47B2-A4DD-68E1BD723D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295151" y="3001381"/>
              <a:ext cx="457550" cy="457550"/>
            </a:xfrm>
            <a:prstGeom prst="rect">
              <a:avLst/>
            </a:prstGeom>
          </p:spPr>
        </p:pic>
        <p:pic>
          <p:nvPicPr>
            <p:cNvPr id="86" name="Graphic 85" descr="Virtual Machines">
              <a:extLst>
                <a:ext uri="{FF2B5EF4-FFF2-40B4-BE49-F238E27FC236}">
                  <a16:creationId xmlns:a16="http://schemas.microsoft.com/office/drawing/2014/main" id="{4CA15505-8EC5-4631-A9A7-7B5BC5B14A5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24131" y="3010732"/>
              <a:ext cx="457550" cy="457550"/>
            </a:xfrm>
            <a:prstGeom prst="rect">
              <a:avLst/>
            </a:prstGeom>
          </p:spPr>
        </p:pic>
        <p:pic>
          <p:nvPicPr>
            <p:cNvPr id="87" name="Graphic 86" descr="Virtual Machines">
              <a:extLst>
                <a:ext uri="{FF2B5EF4-FFF2-40B4-BE49-F238E27FC236}">
                  <a16:creationId xmlns:a16="http://schemas.microsoft.com/office/drawing/2014/main" id="{DB6E1AB2-C737-4E14-950B-49A1F7A7D73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709641" y="2493733"/>
              <a:ext cx="457550" cy="457550"/>
            </a:xfrm>
            <a:prstGeom prst="rect">
              <a:avLst/>
            </a:prstGeom>
          </p:spPr>
        </p:pic>
        <p:pic>
          <p:nvPicPr>
            <p:cNvPr id="88" name="Picture 87" descr="A close up of a logo&#10;&#10;Description automatically generated">
              <a:extLst>
                <a:ext uri="{FF2B5EF4-FFF2-40B4-BE49-F238E27FC236}">
                  <a16:creationId xmlns:a16="http://schemas.microsoft.com/office/drawing/2014/main" id="{3F8BDC5E-2ECB-4623-A51F-BF80265071F4}"/>
                </a:ext>
              </a:extLst>
            </p:cNvPr>
            <p:cNvPicPr>
              <a:picLocks noChangeAspect="1"/>
            </p:cNvPicPr>
            <p:nvPr/>
          </p:nvPicPr>
          <p:blipFill>
            <a:blip r:embed="rId5"/>
            <a:stretch>
              <a:fillRect/>
            </a:stretch>
          </p:blipFill>
          <p:spPr>
            <a:xfrm>
              <a:off x="2766077" y="2933819"/>
              <a:ext cx="336793" cy="336793"/>
            </a:xfrm>
            <a:prstGeom prst="rect">
              <a:avLst/>
            </a:prstGeom>
          </p:spPr>
        </p:pic>
      </p:grpSp>
      <p:pic>
        <p:nvPicPr>
          <p:cNvPr id="91" name="Graphic 90" descr="Windows App">
            <a:extLst>
              <a:ext uri="{FF2B5EF4-FFF2-40B4-BE49-F238E27FC236}">
                <a16:creationId xmlns:a16="http://schemas.microsoft.com/office/drawing/2014/main" id="{9D68D56F-6AD7-404B-9788-F1A062DA435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2940731" y="2856633"/>
            <a:ext cx="531314" cy="531317"/>
          </a:xfrm>
          <a:prstGeom prst="rect">
            <a:avLst/>
          </a:prstGeom>
        </p:spPr>
      </p:pic>
      <p:grpSp>
        <p:nvGrpSpPr>
          <p:cNvPr id="97" name="Group 96" descr="Microsoft Azure">
            <a:extLst>
              <a:ext uri="{FF2B5EF4-FFF2-40B4-BE49-F238E27FC236}">
                <a16:creationId xmlns:a16="http://schemas.microsoft.com/office/drawing/2014/main" id="{4F04E5F3-E6D7-426B-8029-16C275CE8EBE}"/>
              </a:ext>
            </a:extLst>
          </p:cNvPr>
          <p:cNvGrpSpPr/>
          <p:nvPr/>
        </p:nvGrpSpPr>
        <p:grpSpPr>
          <a:xfrm>
            <a:off x="8290987" y="5835221"/>
            <a:ext cx="2122775" cy="348996"/>
            <a:chOff x="8393658" y="6449927"/>
            <a:chExt cx="2122775" cy="348996"/>
          </a:xfrm>
        </p:grpSpPr>
        <p:pic>
          <p:nvPicPr>
            <p:cNvPr id="98" name="Picture 97" descr="Microsoft Azure Logo&#10;">
              <a:extLst>
                <a:ext uri="{FF2B5EF4-FFF2-40B4-BE49-F238E27FC236}">
                  <a16:creationId xmlns:a16="http://schemas.microsoft.com/office/drawing/2014/main" id="{2BD154A5-45C0-4996-AB2F-F00FFE209739}"/>
                </a:ext>
              </a:extLst>
            </p:cNvPr>
            <p:cNvPicPr>
              <a:picLocks noChangeAspect="1"/>
            </p:cNvPicPr>
            <p:nvPr/>
          </p:nvPicPr>
          <p:blipFill rotWithShape="1">
            <a:blip r:embed="rId8"/>
            <a:srcRect l="8636" t="23738" r="75972" b="29140"/>
            <a:stretch/>
          </p:blipFill>
          <p:spPr>
            <a:xfrm>
              <a:off x="8393658" y="6449927"/>
              <a:ext cx="344644" cy="348995"/>
            </a:xfrm>
            <a:prstGeom prst="rect">
              <a:avLst/>
            </a:prstGeom>
          </p:spPr>
        </p:pic>
        <p:pic>
          <p:nvPicPr>
            <p:cNvPr id="99" name="Picture 98" descr="Microsoft Azure Logo&#10;">
              <a:extLst>
                <a:ext uri="{FF2B5EF4-FFF2-40B4-BE49-F238E27FC236}">
                  <a16:creationId xmlns:a16="http://schemas.microsoft.com/office/drawing/2014/main" id="{F8DE2397-D845-4432-B626-B0D186ACC4F4}"/>
                </a:ext>
              </a:extLst>
            </p:cNvPr>
            <p:cNvPicPr>
              <a:picLocks noChangeAspect="1"/>
            </p:cNvPicPr>
            <p:nvPr/>
          </p:nvPicPr>
          <p:blipFill rotWithShape="1">
            <a:blip r:embed="rId8">
              <a:biLevel thresh="25000"/>
            </a:blip>
            <a:srcRect l="23707" t="30928" b="29139"/>
            <a:stretch/>
          </p:blipFill>
          <p:spPr>
            <a:xfrm>
              <a:off x="8808156" y="6503179"/>
              <a:ext cx="1708277" cy="295744"/>
            </a:xfrm>
            <a:prstGeom prst="rect">
              <a:avLst/>
            </a:prstGeom>
          </p:spPr>
        </p:pic>
      </p:grpSp>
      <p:sp>
        <p:nvSpPr>
          <p:cNvPr id="100" name="TextBox 99">
            <a:extLst>
              <a:ext uri="{FF2B5EF4-FFF2-40B4-BE49-F238E27FC236}">
                <a16:creationId xmlns:a16="http://schemas.microsoft.com/office/drawing/2014/main" id="{2F42EC87-E343-4237-8CF6-53581893A4C6}"/>
              </a:ext>
            </a:extLst>
          </p:cNvPr>
          <p:cNvSpPr txBox="1"/>
          <p:nvPr/>
        </p:nvSpPr>
        <p:spPr>
          <a:xfrm>
            <a:off x="5204371" y="4175939"/>
            <a:ext cx="1780484" cy="830997"/>
          </a:xfrm>
          <a:prstGeom prst="rect">
            <a:avLst/>
          </a:prstGeom>
          <a:noFill/>
          <a:ln w="38100">
            <a:noFill/>
            <a:prstDash val="dash"/>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Azure Migrate – </a:t>
            </a:r>
            <a:b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br>
            <a:r>
              <a:rPr kumimoji="0" lang="en-US" sz="1800" b="0" i="0" u="none" strike="noStrike" kern="0" cap="none" spc="0" normalizeH="0" baseline="0" noProof="0">
                <a:ln w="3175">
                  <a:noFill/>
                </a:ln>
                <a:solidFill>
                  <a:prstClr val="white"/>
                </a:solidFill>
                <a:effectLst/>
                <a:uLnTx/>
                <a:uFillTx/>
                <a:latin typeface="Segoe UI Semibold"/>
                <a:ea typeface="+mn-ea"/>
                <a:cs typeface="Segoe UI" pitchFamily="34" charset="0"/>
              </a:rPr>
              <a:t>Database Migration</a:t>
            </a:r>
          </a:p>
        </p:txBody>
      </p:sp>
      <p:pic>
        <p:nvPicPr>
          <p:cNvPr id="101" name="Picture 100" descr="App Service">
            <a:extLst>
              <a:ext uri="{FF2B5EF4-FFF2-40B4-BE49-F238E27FC236}">
                <a16:creationId xmlns:a16="http://schemas.microsoft.com/office/drawing/2014/main" id="{F5F5BF02-17DE-4403-A47C-01600C32E541}"/>
              </a:ext>
            </a:extLst>
          </p:cNvPr>
          <p:cNvPicPr>
            <a:picLocks noChangeAspect="1"/>
          </p:cNvPicPr>
          <p:nvPr/>
        </p:nvPicPr>
        <p:blipFill>
          <a:blip r:embed="rId9"/>
          <a:stretch>
            <a:fillRect/>
          </a:stretch>
        </p:blipFill>
        <p:spPr>
          <a:xfrm>
            <a:off x="9454590" y="2788268"/>
            <a:ext cx="669106" cy="668046"/>
          </a:xfrm>
          <a:prstGeom prst="rect">
            <a:avLst/>
          </a:prstGeom>
        </p:spPr>
      </p:pic>
      <p:sp>
        <p:nvSpPr>
          <p:cNvPr id="33" name="Rectangle 32">
            <a:extLst>
              <a:ext uri="{FF2B5EF4-FFF2-40B4-BE49-F238E27FC236}">
                <a16:creationId xmlns:a16="http://schemas.microsoft.com/office/drawing/2014/main" id="{AAB0B2F1-CB88-4AB1-8F8C-3FEEDAE1E23F}"/>
              </a:ext>
            </a:extLst>
          </p:cNvPr>
          <p:cNvSpPr/>
          <p:nvPr/>
        </p:nvSpPr>
        <p:spPr>
          <a:xfrm>
            <a:off x="913581" y="187051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sp>
        <p:nvSpPr>
          <p:cNvPr id="34" name="Rectangle 33">
            <a:extLst>
              <a:ext uri="{FF2B5EF4-FFF2-40B4-BE49-F238E27FC236}">
                <a16:creationId xmlns:a16="http://schemas.microsoft.com/office/drawing/2014/main" id="{AE6B880F-9496-4412-83A0-32A92B03378C}"/>
              </a:ext>
            </a:extLst>
          </p:cNvPr>
          <p:cNvSpPr/>
          <p:nvPr/>
        </p:nvSpPr>
        <p:spPr>
          <a:xfrm>
            <a:off x="7312398" y="1867333"/>
            <a:ext cx="1016690" cy="369332"/>
          </a:xfrm>
          <a:prstGeom prst="rect">
            <a:avLst/>
          </a:prstGeom>
        </p:spPr>
        <p:txBody>
          <a:bodyPr wrap="none" lIns="0" rIns="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LOB App</a:t>
            </a:r>
          </a:p>
        </p:txBody>
      </p:sp>
      <p:pic>
        <p:nvPicPr>
          <p:cNvPr id="3" name="Picture 2" descr="A picture containing drawing&#10;&#10;Description automatically generated">
            <a:extLst>
              <a:ext uri="{FF2B5EF4-FFF2-40B4-BE49-F238E27FC236}">
                <a16:creationId xmlns:a16="http://schemas.microsoft.com/office/drawing/2014/main" id="{D943A0AC-1921-492D-BFFB-A732E405744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3180" t="18325" r="24455" b="12066"/>
          <a:stretch/>
        </p:blipFill>
        <p:spPr>
          <a:xfrm>
            <a:off x="745249" y="5901459"/>
            <a:ext cx="1076325" cy="317953"/>
          </a:xfrm>
          <a:prstGeom prst="rect">
            <a:avLst/>
          </a:prstGeom>
        </p:spPr>
      </p:pic>
      <p:sp>
        <p:nvSpPr>
          <p:cNvPr id="4" name="TextBox 3">
            <a:extLst>
              <a:ext uri="{FF2B5EF4-FFF2-40B4-BE49-F238E27FC236}">
                <a16:creationId xmlns:a16="http://schemas.microsoft.com/office/drawing/2014/main" id="{41FD6693-7B8E-4F76-B230-8D7E9C0A0C96}"/>
              </a:ext>
            </a:extLst>
          </p:cNvPr>
          <p:cNvSpPr txBox="1"/>
          <p:nvPr/>
        </p:nvSpPr>
        <p:spPr>
          <a:xfrm>
            <a:off x="2018929" y="5942413"/>
            <a:ext cx="868027" cy="276999"/>
          </a:xfrm>
          <a:prstGeom prst="rect">
            <a:avLst/>
          </a:prstGeom>
          <a:noFill/>
        </p:spPr>
        <p:txBody>
          <a:bodyPr wrap="square" lIns="0" tIns="0" rIns="0" bIns="0" rtlCol="0">
            <a:spAutoFit/>
          </a:bodyPr>
          <a:lstStyle/>
          <a:p>
            <a:pPr algn="l"/>
            <a:r>
              <a:rPr lang="en-US" dirty="0">
                <a:solidFill>
                  <a:schemeClr val="bg1"/>
                </a:solidFill>
              </a:rPr>
              <a:t>VMware</a:t>
            </a:r>
          </a:p>
        </p:txBody>
      </p:sp>
      <p:sp>
        <p:nvSpPr>
          <p:cNvPr id="5" name="TextBox 4">
            <a:extLst>
              <a:ext uri="{FF2B5EF4-FFF2-40B4-BE49-F238E27FC236}">
                <a16:creationId xmlns:a16="http://schemas.microsoft.com/office/drawing/2014/main" id="{543AC7B0-C69B-4EDB-8B1A-3500470C805F}"/>
              </a:ext>
            </a:extLst>
          </p:cNvPr>
          <p:cNvSpPr txBox="1"/>
          <p:nvPr/>
        </p:nvSpPr>
        <p:spPr>
          <a:xfrm>
            <a:off x="3057594" y="5942413"/>
            <a:ext cx="431077" cy="276999"/>
          </a:xfrm>
          <a:prstGeom prst="rect">
            <a:avLst/>
          </a:prstGeom>
          <a:noFill/>
        </p:spPr>
        <p:txBody>
          <a:bodyPr wrap="square" lIns="0" tIns="0" rIns="0" bIns="0" rtlCol="0">
            <a:spAutoFit/>
          </a:bodyPr>
          <a:lstStyle/>
          <a:p>
            <a:pPr algn="l"/>
            <a:r>
              <a:rPr lang="en-US" dirty="0">
                <a:solidFill>
                  <a:schemeClr val="bg1"/>
                </a:solidFill>
              </a:rPr>
              <a:t>aws</a:t>
            </a:r>
          </a:p>
        </p:txBody>
      </p:sp>
      <p:sp>
        <p:nvSpPr>
          <p:cNvPr id="6" name="TextBox 5">
            <a:extLst>
              <a:ext uri="{FF2B5EF4-FFF2-40B4-BE49-F238E27FC236}">
                <a16:creationId xmlns:a16="http://schemas.microsoft.com/office/drawing/2014/main" id="{64C50559-884B-4AE7-B598-0A45EC15E0A4}"/>
              </a:ext>
            </a:extLst>
          </p:cNvPr>
          <p:cNvSpPr txBox="1"/>
          <p:nvPr/>
        </p:nvSpPr>
        <p:spPr>
          <a:xfrm>
            <a:off x="3729066" y="5997863"/>
            <a:ext cx="1327236" cy="221549"/>
          </a:xfrm>
          <a:prstGeom prst="rect">
            <a:avLst/>
          </a:prstGeom>
          <a:noFill/>
        </p:spPr>
        <p:txBody>
          <a:bodyPr wrap="square" lIns="0" tIns="0" rIns="0" bIns="0" rtlCol="0">
            <a:spAutoFit/>
          </a:bodyPr>
          <a:lstStyle/>
          <a:p>
            <a:pPr algn="l"/>
            <a:r>
              <a:rPr lang="en-US" sz="1400" dirty="0">
                <a:solidFill>
                  <a:schemeClr val="bg1"/>
                </a:solidFill>
              </a:rPr>
              <a:t>Google Cloud</a:t>
            </a:r>
          </a:p>
        </p:txBody>
      </p:sp>
    </p:spTree>
    <p:extLst>
      <p:ext uri="{BB962C8B-B14F-4D97-AF65-F5344CB8AC3E}">
        <p14:creationId xmlns:p14="http://schemas.microsoft.com/office/powerpoint/2010/main" val="268991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977A1-95F1-428B-96FF-B89BEE9C4F60}"/>
              </a:ext>
            </a:extLst>
          </p:cNvPr>
          <p:cNvSpPr>
            <a:spLocks noGrp="1"/>
          </p:cNvSpPr>
          <p:nvPr>
            <p:ph type="title"/>
          </p:nvPr>
        </p:nvSpPr>
        <p:spPr/>
        <p:txBody>
          <a:bodyPr/>
          <a:lstStyle/>
          <a:p>
            <a:r>
              <a:rPr lang="en-US">
                <a:solidFill>
                  <a:schemeClr val="accent3"/>
                </a:solidFill>
              </a:rPr>
              <a:t>Key investments to lower migration costs and help you move with confidence </a:t>
            </a:r>
          </a:p>
        </p:txBody>
      </p:sp>
      <p:sp>
        <p:nvSpPr>
          <p:cNvPr id="30" name="Freeform: Shape 29">
            <a:extLst>
              <a:ext uri="{FF2B5EF4-FFF2-40B4-BE49-F238E27FC236}">
                <a16:creationId xmlns:a16="http://schemas.microsoft.com/office/drawing/2014/main" id="{B6DB0F64-C177-47A5-B5FF-9F82CDDD5EFC}"/>
              </a:ext>
              <a:ext uri="{C183D7F6-B498-43B3-948B-1728B52AA6E4}">
                <adec:decorative xmlns:adec="http://schemas.microsoft.com/office/drawing/2017/decorative" xmlns="" val="1"/>
              </a:ext>
            </a:extLst>
          </p:cNvPr>
          <p:cNvSpPr/>
          <p:nvPr/>
        </p:nvSpPr>
        <p:spPr>
          <a:xfrm>
            <a:off x="1419862"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 name="Picture 3" descr="Seamless experiences drive sales">
            <a:extLst>
              <a:ext uri="{FF2B5EF4-FFF2-40B4-BE49-F238E27FC236}">
                <a16:creationId xmlns:a16="http://schemas.microsoft.com/office/drawing/2014/main" id="{3933B83D-FC11-4C59-808F-B0B13DACF51B}"/>
              </a:ext>
            </a:extLst>
          </p:cNvPr>
          <p:cNvPicPr>
            <a:picLocks noChangeAspect="1"/>
          </p:cNvPicPr>
          <p:nvPr/>
        </p:nvPicPr>
        <p:blipFill>
          <a:blip r:embed="rId3"/>
          <a:stretch>
            <a:fillRect/>
          </a:stretch>
        </p:blipFill>
        <p:spPr>
          <a:xfrm>
            <a:off x="2004956" y="2499824"/>
            <a:ext cx="678180" cy="678180"/>
          </a:xfrm>
          <a:prstGeom prst="rect">
            <a:avLst/>
          </a:prstGeom>
        </p:spPr>
      </p:pic>
      <p:sp>
        <p:nvSpPr>
          <p:cNvPr id="16" name="Rectangle 15">
            <a:extLst>
              <a:ext uri="{FF2B5EF4-FFF2-40B4-BE49-F238E27FC236}">
                <a16:creationId xmlns:a16="http://schemas.microsoft.com/office/drawing/2014/main" id="{BDF7DFEB-E361-4542-BBDF-9FBDD2319816}"/>
              </a:ext>
            </a:extLst>
          </p:cNvPr>
          <p:cNvSpPr/>
          <p:nvPr/>
        </p:nvSpPr>
        <p:spPr>
          <a:xfrm>
            <a:off x="708323" y="4120328"/>
            <a:ext cx="3271446"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Microsoft Cloud </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doption Framework</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Proven guidance to accelerate your cloud adoption journey</a:t>
            </a:r>
          </a:p>
        </p:txBody>
      </p:sp>
      <p:sp>
        <p:nvSpPr>
          <p:cNvPr id="29" name="Freeform: Shape 28">
            <a:extLst>
              <a:ext uri="{FF2B5EF4-FFF2-40B4-BE49-F238E27FC236}">
                <a16:creationId xmlns:a16="http://schemas.microsoft.com/office/drawing/2014/main" id="{1B8A688E-94E7-46C0-BE99-91FF3837DDD5}"/>
              </a:ext>
              <a:ext uri="{C183D7F6-B498-43B3-948B-1728B52AA6E4}">
                <adec:decorative xmlns:adec="http://schemas.microsoft.com/office/drawing/2017/decorative" xmlns="" val="1"/>
              </a:ext>
            </a:extLst>
          </p:cNvPr>
          <p:cNvSpPr/>
          <p:nvPr/>
        </p:nvSpPr>
        <p:spPr>
          <a:xfrm>
            <a:off x="5165092" y="1969024"/>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6" name="Picture 5" descr="direction, expand, grow, large&#10;">
            <a:extLst>
              <a:ext uri="{FF2B5EF4-FFF2-40B4-BE49-F238E27FC236}">
                <a16:creationId xmlns:a16="http://schemas.microsoft.com/office/drawing/2014/main" id="{7AFC6AA3-B9BD-4D7D-AD3D-28BF47160D9A}"/>
              </a:ext>
            </a:extLst>
          </p:cNvPr>
          <p:cNvPicPr>
            <a:picLocks noChangeAspect="1"/>
          </p:cNvPicPr>
          <p:nvPr/>
        </p:nvPicPr>
        <p:blipFill>
          <a:blip r:embed="rId4"/>
          <a:stretch>
            <a:fillRect/>
          </a:stretch>
        </p:blipFill>
        <p:spPr>
          <a:xfrm>
            <a:off x="5803526" y="2607457"/>
            <a:ext cx="571500" cy="571500"/>
          </a:xfrm>
          <a:prstGeom prst="rect">
            <a:avLst/>
          </a:prstGeom>
        </p:spPr>
      </p:pic>
      <p:sp>
        <p:nvSpPr>
          <p:cNvPr id="19" name="Rectangle 18">
            <a:extLst>
              <a:ext uri="{FF2B5EF4-FFF2-40B4-BE49-F238E27FC236}">
                <a16:creationId xmlns:a16="http://schemas.microsoft.com/office/drawing/2014/main" id="{B089CCBA-E5FD-4EFD-9F45-4BF4B7463491}"/>
              </a:ext>
            </a:extLst>
          </p:cNvPr>
          <p:cNvSpPr/>
          <p:nvPr/>
        </p:nvSpPr>
        <p:spPr>
          <a:xfrm>
            <a:off x="4380155"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ion Program</a:t>
            </a:r>
            <a:b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b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 FastTrack for Azure </a:t>
            </a: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Best practices &amp; resources, including Azure engineering &amp; specialized partners </a:t>
            </a:r>
          </a:p>
        </p:txBody>
      </p:sp>
      <p:sp>
        <p:nvSpPr>
          <p:cNvPr id="31" name="Freeform: Shape 30">
            <a:extLst>
              <a:ext uri="{FF2B5EF4-FFF2-40B4-BE49-F238E27FC236}">
                <a16:creationId xmlns:a16="http://schemas.microsoft.com/office/drawing/2014/main" id="{C7B378DE-024F-4C54-A239-3FC454FEE073}"/>
              </a:ext>
              <a:ext uri="{C183D7F6-B498-43B3-948B-1728B52AA6E4}">
                <adec:decorative xmlns:adec="http://schemas.microsoft.com/office/drawing/2017/decorative" xmlns="" val="1"/>
              </a:ext>
            </a:extLst>
          </p:cNvPr>
          <p:cNvSpPr/>
          <p:nvPr/>
        </p:nvSpPr>
        <p:spPr>
          <a:xfrm>
            <a:off x="8901750" y="1914731"/>
            <a:ext cx="1848368" cy="184836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bg2"/>
          </a:solidFill>
          <a:ln w="38100" cap="flat">
            <a:solidFill>
              <a:schemeClr val="bg1">
                <a:alpha val="20000"/>
              </a:schemeClr>
            </a:solidFill>
            <a:prstDash val="solid"/>
            <a:miter/>
          </a:ln>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8" name="Picture 7" descr="Azure migration icon">
            <a:extLst>
              <a:ext uri="{FF2B5EF4-FFF2-40B4-BE49-F238E27FC236}">
                <a16:creationId xmlns:a16="http://schemas.microsoft.com/office/drawing/2014/main" id="{4369DB79-E2E0-4039-9077-E8C58BCFB4BA}"/>
              </a:ext>
            </a:extLst>
          </p:cNvPr>
          <p:cNvPicPr>
            <a:picLocks noChangeAspect="1"/>
          </p:cNvPicPr>
          <p:nvPr/>
        </p:nvPicPr>
        <p:blipFill>
          <a:blip r:embed="rId5"/>
          <a:stretch>
            <a:fillRect/>
          </a:stretch>
        </p:blipFill>
        <p:spPr>
          <a:xfrm>
            <a:off x="9383974" y="2522684"/>
            <a:ext cx="883920" cy="632460"/>
          </a:xfrm>
          <a:prstGeom prst="rect">
            <a:avLst/>
          </a:prstGeom>
        </p:spPr>
      </p:pic>
      <p:sp>
        <p:nvSpPr>
          <p:cNvPr id="17" name="Rectangle 16">
            <a:extLst>
              <a:ext uri="{FF2B5EF4-FFF2-40B4-BE49-F238E27FC236}">
                <a16:creationId xmlns:a16="http://schemas.microsoft.com/office/drawing/2014/main" id="{CD165FDC-676D-4035-9593-01FD81FB90EC}"/>
              </a:ext>
            </a:extLst>
          </p:cNvPr>
          <p:cNvSpPr/>
          <p:nvPr/>
        </p:nvSpPr>
        <p:spPr>
          <a:xfrm>
            <a:off x="8116813" y="4120328"/>
            <a:ext cx="3566160" cy="1935162"/>
          </a:xfrm>
          <a:prstGeom prst="rect">
            <a:avLst/>
          </a:prstGeom>
        </p:spPr>
        <p:txBody>
          <a:bodyPr wrap="square" anchor="t" anchorCtr="0">
            <a:noAutofit/>
          </a:bodyPr>
          <a:lstStyle/>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da-DK" sz="18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rPr>
              <a:t>Azure Migrate</a:t>
            </a:r>
            <a:endParaRPr kumimoji="0" lang="en-US" sz="1200" b="0" i="0" u="none" strike="noStrike" kern="0" cap="none" spc="0" normalizeH="0" baseline="0" noProof="0">
              <a:ln>
                <a:noFill/>
              </a:ln>
              <a:solidFill>
                <a:srgbClr val="50E6FF"/>
              </a:solidFill>
              <a:effectLst/>
              <a:uLnTx/>
              <a:uFillTx/>
              <a:latin typeface="Segoe UI Semibold"/>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endParaRPr kumimoji="0" lang="en-US" sz="9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endParaRPr>
          </a:p>
          <a:p>
            <a:pPr marL="0" marR="0" lvl="0" indent="0" algn="ctr" defTabSz="896397"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Single hub for all </a:t>
            </a:r>
            <a:b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br>
            <a:r>
              <a:rPr kumimoji="0" lang="en-US" sz="1800" b="0" i="0" u="none" strike="noStrike" kern="0" cap="none" spc="0" normalizeH="0" baseline="0" noProof="0">
                <a:ln>
                  <a:noFill/>
                </a:ln>
                <a:solidFill>
                  <a:prstClr val="white"/>
                </a:solidFill>
                <a:effectLst/>
                <a:uLnTx/>
                <a:uFillTx/>
                <a:latin typeface="Segoe UI"/>
                <a:ea typeface="Segoe UI" panose="020B0502040204020203" pitchFamily="34" charset="0"/>
                <a:cs typeface="Segoe UI" panose="020B0502040204020203" pitchFamily="34" charset="0"/>
              </a:rPr>
              <a:t>your migration needs</a:t>
            </a:r>
          </a:p>
        </p:txBody>
      </p:sp>
    </p:spTree>
    <p:extLst>
      <p:ext uri="{BB962C8B-B14F-4D97-AF65-F5344CB8AC3E}">
        <p14:creationId xmlns:p14="http://schemas.microsoft.com/office/powerpoint/2010/main" val="202263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anim calcmode="lin" valueType="num">
                                      <p:cBhvr>
                                        <p:cTn id="14" dur="500" fill="hold"/>
                                        <p:tgtEl>
                                          <p:spTgt spid="16"/>
                                        </p:tgtEl>
                                        <p:attrNameLst>
                                          <p:attrName>ppt_x</p:attrName>
                                        </p:attrNameLst>
                                      </p:cBhvr>
                                      <p:tavLst>
                                        <p:tav tm="0">
                                          <p:val>
                                            <p:strVal val="#ppt_x"/>
                                          </p:val>
                                        </p:tav>
                                        <p:tav tm="100000">
                                          <p:val>
                                            <p:strVal val="#ppt_x"/>
                                          </p:val>
                                        </p:tav>
                                      </p:tavLst>
                                    </p:anim>
                                    <p:anim calcmode="lin" valueType="num">
                                      <p:cBhvr>
                                        <p:cTn id="15" dur="5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anim calcmode="lin" valueType="num">
                                      <p:cBhvr>
                                        <p:cTn id="26" dur="500" fill="hold"/>
                                        <p:tgtEl>
                                          <p:spTgt spid="19"/>
                                        </p:tgtEl>
                                        <p:attrNameLst>
                                          <p:attrName>ppt_x</p:attrName>
                                        </p:attrNameLst>
                                      </p:cBhvr>
                                      <p:tavLst>
                                        <p:tav tm="0">
                                          <p:val>
                                            <p:strVal val="#ppt_x"/>
                                          </p:val>
                                        </p:tav>
                                        <p:tav tm="100000">
                                          <p:val>
                                            <p:strVal val="#ppt_x"/>
                                          </p:val>
                                        </p:tav>
                                      </p:tavLst>
                                    </p:anim>
                                    <p:anim calcmode="lin" valueType="num">
                                      <p:cBhvr>
                                        <p:cTn id="27" dur="500" fill="hold"/>
                                        <p:tgtEl>
                                          <p:spTgt spid="19"/>
                                        </p:tgtEl>
                                        <p:attrNameLst>
                                          <p:attrName>ppt_y</p:attrName>
                                        </p:attrNameLst>
                                      </p:cBhvr>
                                      <p:tavLst>
                                        <p:tav tm="0">
                                          <p:val>
                                            <p:strVal val="#ppt_y+.1"/>
                                          </p:val>
                                        </p:tav>
                                        <p:tav tm="100000">
                                          <p:val>
                                            <p:strVal val="#ppt_y"/>
                                          </p:val>
                                        </p:tav>
                                      </p:tavLst>
                                    </p:anim>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6" grpId="0"/>
      <p:bldP spid="29" grpId="0" animBg="1"/>
      <p:bldP spid="19" grpId="0"/>
      <p:bldP spid="31" grpId="0" animBg="1"/>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9" name="Left Brace 58">
            <a:extLst>
              <a:ext uri="{FF2B5EF4-FFF2-40B4-BE49-F238E27FC236}">
                <a16:creationId xmlns:a16="http://schemas.microsoft.com/office/drawing/2014/main" id="{0B5A55C4-3B24-4766-9D34-90ED727BC494}"/>
              </a:ext>
              <a:ext uri="{C183D7F6-B498-43B3-948B-1728B52AA6E4}">
                <adec:decorative xmlns:adec="http://schemas.microsoft.com/office/drawing/2017/decorative" xmlns="" val="1"/>
              </a:ext>
            </a:extLst>
          </p:cNvPr>
          <p:cNvSpPr/>
          <p:nvPr/>
        </p:nvSpPr>
        <p:spPr>
          <a:xfrm rot="5400000">
            <a:off x="2512857" y="1447857"/>
            <a:ext cx="558544" cy="2577454"/>
          </a:xfrm>
          <a:prstGeom prst="leftBrace">
            <a:avLst>
              <a:gd name="adj1" fmla="val 20469"/>
              <a:gd name="adj2" fmla="val 50000"/>
            </a:avLst>
          </a:prstGeom>
          <a:ln w="12700">
            <a:solidFill>
              <a:schemeClr val="accent3"/>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Title 4">
            <a:extLst>
              <a:ext uri="{FF2B5EF4-FFF2-40B4-BE49-F238E27FC236}">
                <a16:creationId xmlns:a16="http://schemas.microsoft.com/office/drawing/2014/main" id="{CDB2E01F-411A-4BDC-9AA3-58911A2D2A37}"/>
              </a:ext>
            </a:extLst>
          </p:cNvPr>
          <p:cNvSpPr>
            <a:spLocks noGrp="1"/>
          </p:cNvSpPr>
          <p:nvPr>
            <p:ph type="title"/>
          </p:nvPr>
        </p:nvSpPr>
        <p:spPr>
          <a:xfrm>
            <a:off x="414349" y="253233"/>
            <a:ext cx="11081177" cy="1020602"/>
          </a:xfrm>
        </p:spPr>
        <p:txBody>
          <a:bodyPr/>
          <a:lstStyle/>
          <a:p>
            <a:pPr>
              <a:lnSpc>
                <a:spcPct val="100000"/>
              </a:lnSpc>
            </a:pPr>
            <a:r>
              <a:rPr lang="en-US">
                <a:solidFill>
                  <a:schemeClr val="accent3"/>
                </a:solidFill>
              </a:rPr>
              <a:t>Your migration journey</a:t>
            </a:r>
            <a:r>
              <a:rPr lang="en-US"/>
              <a:t/>
            </a:r>
            <a:br>
              <a:rPr lang="en-US"/>
            </a:br>
            <a:r>
              <a:rPr lang="en-US" sz="2000"/>
              <a:t>Informed by the Microsoft Cloud Adoption Framework for Azure </a:t>
            </a:r>
          </a:p>
        </p:txBody>
      </p:sp>
      <p:sp>
        <p:nvSpPr>
          <p:cNvPr id="189" name="TextBox 188">
            <a:extLst>
              <a:ext uri="{FF2B5EF4-FFF2-40B4-BE49-F238E27FC236}">
                <a16:creationId xmlns:a16="http://schemas.microsoft.com/office/drawing/2014/main" id="{F44ABC18-8B25-4C75-9258-9234E69CA1FC}"/>
              </a:ext>
            </a:extLst>
          </p:cNvPr>
          <p:cNvSpPr txBox="1"/>
          <p:nvPr/>
        </p:nvSpPr>
        <p:spPr>
          <a:xfrm>
            <a:off x="547453" y="6055306"/>
            <a:ext cx="4091221" cy="372090"/>
          </a:xfrm>
          <a:prstGeom prst="rect">
            <a:avLst/>
          </a:prstGeom>
          <a:noFill/>
        </p:spPr>
        <p:txBody>
          <a:bodyPr wrap="square" l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eople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Process </a:t>
            </a:r>
            <a:r>
              <a:rPr kumimoji="0" lang="en-US" sz="1400" b="1" i="0" u="none" strike="noStrike" kern="0" cap="none" spc="0" normalizeH="0" baseline="0" noProof="0">
                <a:ln>
                  <a:noFill/>
                </a:ln>
                <a:solidFill>
                  <a:prstClr val="white"/>
                </a:solidFill>
                <a:effectLst/>
                <a:uLnTx/>
                <a:uFillTx/>
                <a:latin typeface="Segoe UI Semibold"/>
                <a:ea typeface="Segoe UI" pitchFamily="34" charset="0"/>
                <a:cs typeface="Segoe UI" pitchFamily="34" charset="0"/>
                <a:sym typeface="Webdings" panose="05030102010509060703" pitchFamily="18" charset="2"/>
              </a:rPr>
              <a:t></a:t>
            </a:r>
            <a:r>
              <a:rPr kumimoji="0" lang="en-US" sz="1400" b="0" i="0" u="none" strike="noStrike" kern="1200" cap="none" spc="0" normalizeH="0" baseline="0" noProof="0">
                <a:ln>
                  <a:noFill/>
                </a:ln>
                <a:solidFill>
                  <a:prstClr val="white"/>
                </a:solidFill>
                <a:effectLst/>
                <a:uLnTx/>
                <a:uFillTx/>
                <a:latin typeface="Segoe UI Semibold"/>
                <a:ea typeface="+mn-ea"/>
                <a:cs typeface="+mn-cs"/>
              </a:rPr>
              <a:t> . Technology </a:t>
            </a:r>
            <a:r>
              <a:rPr kumimoji="0" lang="en-US" sz="1400" b="0" i="0" u="none" strike="noStrike" kern="1200" cap="none" spc="0" normalizeH="0" baseline="0" noProof="0">
                <a:ln>
                  <a:noFill/>
                </a:ln>
                <a:solidFill>
                  <a:prstClr val="white"/>
                </a:solidFill>
                <a:effectLst/>
                <a:uLnTx/>
                <a:uFillTx/>
                <a:latin typeface="Segoe UI Semibold"/>
                <a:ea typeface="+mn-ea"/>
                <a:cs typeface="Segoe UI" pitchFamily="34" charset="0"/>
                <a:sym typeface="Webdings" panose="05030102010509060703" pitchFamily="18" charset="2"/>
              </a:rPr>
              <a:t></a:t>
            </a: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0" name="Rectangle 29">
            <a:extLst>
              <a:ext uri="{FF2B5EF4-FFF2-40B4-BE49-F238E27FC236}">
                <a16:creationId xmlns:a16="http://schemas.microsoft.com/office/drawing/2014/main" id="{27FF3DB3-90D8-4366-952A-ABCB643DB75F}"/>
              </a:ext>
              <a:ext uri="{C183D7F6-B498-43B3-948B-1728B52AA6E4}">
                <adec:decorative xmlns:adec="http://schemas.microsoft.com/office/drawing/2017/decorative" xmlns="" val="1"/>
              </a:ext>
            </a:extLst>
          </p:cNvPr>
          <p:cNvSpPr/>
          <p:nvPr/>
        </p:nvSpPr>
        <p:spPr>
          <a:xfrm>
            <a:off x="6172200" y="1701799"/>
            <a:ext cx="5443538" cy="46085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L-Shape 30">
            <a:extLst>
              <a:ext uri="{FF2B5EF4-FFF2-40B4-BE49-F238E27FC236}">
                <a16:creationId xmlns:a16="http://schemas.microsoft.com/office/drawing/2014/main" id="{4195559C-CE8C-4E07-BF11-9BC970E4BB80}"/>
              </a:ext>
              <a:ext uri="{C183D7F6-B498-43B3-948B-1728B52AA6E4}">
                <adec:decorative xmlns:adec="http://schemas.microsoft.com/office/drawing/2017/decorative" xmlns="" val="1"/>
              </a:ext>
            </a:extLst>
          </p:cNvPr>
          <p:cNvSpPr/>
          <p:nvPr/>
        </p:nvSpPr>
        <p:spPr>
          <a:xfrm flipV="1">
            <a:off x="6126441" y="1670222"/>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L-Shape 31">
            <a:extLst>
              <a:ext uri="{FF2B5EF4-FFF2-40B4-BE49-F238E27FC236}">
                <a16:creationId xmlns:a16="http://schemas.microsoft.com/office/drawing/2014/main" id="{ED89592E-ADB1-44D3-9A02-F6E91BEE3B5C}"/>
              </a:ext>
              <a:ext uri="{C183D7F6-B498-43B3-948B-1728B52AA6E4}">
                <adec:decorative xmlns:adec="http://schemas.microsoft.com/office/drawing/2017/decorative" xmlns="" val="1"/>
              </a:ext>
            </a:extLst>
          </p:cNvPr>
          <p:cNvSpPr/>
          <p:nvPr/>
        </p:nvSpPr>
        <p:spPr>
          <a:xfrm flipH="1">
            <a:off x="11391499" y="608468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E7BCA796-521F-43B9-977E-6D428A55241B}"/>
              </a:ext>
              <a:ext uri="{C183D7F6-B498-43B3-948B-1728B52AA6E4}">
                <adec:decorative xmlns:adec="http://schemas.microsoft.com/office/drawing/2017/decorative" xmlns="" val="1"/>
              </a:ext>
            </a:extLst>
          </p:cNvPr>
          <p:cNvGrpSpPr/>
          <p:nvPr/>
        </p:nvGrpSpPr>
        <p:grpSpPr>
          <a:xfrm>
            <a:off x="6571772" y="1895247"/>
            <a:ext cx="4739774" cy="4283171"/>
            <a:chOff x="6637896" y="1954437"/>
            <a:chExt cx="4739774" cy="4283171"/>
          </a:xfrm>
        </p:grpSpPr>
        <p:grpSp>
          <p:nvGrpSpPr>
            <p:cNvPr id="33" name="Group 32">
              <a:extLst>
                <a:ext uri="{FF2B5EF4-FFF2-40B4-BE49-F238E27FC236}">
                  <a16:creationId xmlns:a16="http://schemas.microsoft.com/office/drawing/2014/main" id="{F20B6C08-39F6-456E-8DB0-37199917FDC7}"/>
                </a:ext>
              </a:extLst>
            </p:cNvPr>
            <p:cNvGrpSpPr/>
            <p:nvPr/>
          </p:nvGrpSpPr>
          <p:grpSpPr>
            <a:xfrm>
              <a:off x="6637896" y="1954437"/>
              <a:ext cx="4739774" cy="4283171"/>
              <a:chOff x="6088341" y="1751708"/>
              <a:chExt cx="4739774" cy="4283171"/>
            </a:xfrm>
          </p:grpSpPr>
          <p:sp>
            <p:nvSpPr>
              <p:cNvPr id="34" name="Rectangle 33">
                <a:extLst>
                  <a:ext uri="{FF2B5EF4-FFF2-40B4-BE49-F238E27FC236}">
                    <a16:creationId xmlns:a16="http://schemas.microsoft.com/office/drawing/2014/main" id="{DD181000-F8C2-4371-ADD9-18283612E780}"/>
                  </a:ext>
                </a:extLst>
              </p:cNvPr>
              <p:cNvSpPr/>
              <p:nvPr/>
            </p:nvSpPr>
            <p:spPr bwMode="auto">
              <a:xfrm>
                <a:off x="7760605" y="2041775"/>
                <a:ext cx="1491114" cy="94584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03" tIns="146246" rIns="91403"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Adopt</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Workload</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migration</a:t>
                </a:r>
                <a:endParaRPr kumimoji="0" lang="en-US" sz="11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6" name="Arc 35" descr="Arc moving down">
                <a:extLst>
                  <a:ext uri="{FF2B5EF4-FFF2-40B4-BE49-F238E27FC236}">
                    <a16:creationId xmlns:a16="http://schemas.microsoft.com/office/drawing/2014/main" id="{2FB13F31-10E6-4DDC-AB9D-89F3052D1EC7}"/>
                  </a:ext>
                </a:extLst>
              </p:cNvPr>
              <p:cNvSpPr/>
              <p:nvPr/>
            </p:nvSpPr>
            <p:spPr bwMode="auto">
              <a:xfrm>
                <a:off x="6885888" y="1962444"/>
                <a:ext cx="3240548" cy="3240546"/>
              </a:xfrm>
              <a:prstGeom prst="arc">
                <a:avLst>
                  <a:gd name="adj1" fmla="val 12115141"/>
                  <a:gd name="adj2" fmla="val 1558074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7885A329-4412-437A-8C34-1506C634B3AB}"/>
                  </a:ext>
                </a:extLst>
              </p:cNvPr>
              <p:cNvSpPr/>
              <p:nvPr/>
            </p:nvSpPr>
            <p:spPr bwMode="auto">
              <a:xfrm>
                <a:off x="6088341" y="3586418"/>
                <a:ext cx="1932148" cy="68326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Ready</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Tech skilling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Landing Zon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38" name="Arc 37" descr="Arc moving down">
                <a:extLst>
                  <a:ext uri="{FF2B5EF4-FFF2-40B4-BE49-F238E27FC236}">
                    <a16:creationId xmlns:a16="http://schemas.microsoft.com/office/drawing/2014/main" id="{A4EBAC71-112C-4611-AA10-0AD280F0ED46}"/>
                  </a:ext>
                </a:extLst>
              </p:cNvPr>
              <p:cNvSpPr/>
              <p:nvPr/>
            </p:nvSpPr>
            <p:spPr bwMode="auto">
              <a:xfrm>
                <a:off x="6885888" y="1962444"/>
                <a:ext cx="3240548" cy="3240546"/>
              </a:xfrm>
              <a:prstGeom prst="arc">
                <a:avLst>
                  <a:gd name="adj1" fmla="val 6309185"/>
                  <a:gd name="adj2" fmla="val 8887810"/>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433FA220-31AB-41A8-A57D-E4975B366E4A}"/>
                  </a:ext>
                </a:extLst>
              </p:cNvPr>
              <p:cNvSpPr/>
              <p:nvPr/>
            </p:nvSpPr>
            <p:spPr>
              <a:xfrm>
                <a:off x="7330476" y="5183364"/>
                <a:ext cx="2349325" cy="851515"/>
              </a:xfrm>
              <a:prstGeom prst="rect">
                <a:avLst/>
              </a:prstGeom>
            </p:spPr>
            <p:txBody>
              <a:bodyPr wrap="squar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Govern</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Security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Compliance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 </a:t>
                </a:r>
              </a:p>
            </p:txBody>
          </p:sp>
          <p:sp>
            <p:nvSpPr>
              <p:cNvPr id="40" name="Arc 39" descr="Arc moving up">
                <a:extLst>
                  <a:ext uri="{FF2B5EF4-FFF2-40B4-BE49-F238E27FC236}">
                    <a16:creationId xmlns:a16="http://schemas.microsoft.com/office/drawing/2014/main" id="{82760F0F-C874-4F9A-BF8E-D0FAB7371208}"/>
                  </a:ext>
                </a:extLst>
              </p:cNvPr>
              <p:cNvSpPr/>
              <p:nvPr/>
            </p:nvSpPr>
            <p:spPr bwMode="auto">
              <a:xfrm>
                <a:off x="6885888" y="1962444"/>
                <a:ext cx="3240548" cy="3240546"/>
              </a:xfrm>
              <a:prstGeom prst="arc">
                <a:avLst>
                  <a:gd name="adj1" fmla="val 1442066"/>
                  <a:gd name="adj2" fmla="val 469176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9F492D2-BE29-4C6B-9C27-F7F82359F2B5}"/>
                  </a:ext>
                </a:extLst>
              </p:cNvPr>
              <p:cNvSpPr/>
              <p:nvPr/>
            </p:nvSpPr>
            <p:spPr>
              <a:xfrm>
                <a:off x="9337001" y="3528014"/>
                <a:ext cx="1491114" cy="610424"/>
              </a:xfrm>
              <a:prstGeom prst="rect">
                <a:avLst/>
              </a:prstGeom>
            </p:spPr>
            <p:txBody>
              <a:bodyPr wrap="none">
                <a:spAutoFit/>
              </a:bodyPr>
              <a:lstStyle/>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Manage</a:t>
                </a:r>
              </a:p>
              <a:p>
                <a:pPr marL="0" marR="0" lvl="0" indent="0" algn="ctr" defTabSz="932103" rtl="0" eaLnBrk="1" fontAlgn="base" latinLnBrk="0" hangingPunct="1">
                  <a:lnSpc>
                    <a:spcPct val="100000"/>
                  </a:lnSpc>
                  <a:spcBef>
                    <a:spcPct val="0"/>
                  </a:spcBef>
                  <a:spcAft>
                    <a:spcPts val="2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rPr>
                  <a:t>Operations </a:t>
                </a:r>
                <a:r>
                  <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 </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endParaRPr>
              </a:p>
            </p:txBody>
          </p:sp>
          <p:sp>
            <p:nvSpPr>
              <p:cNvPr id="42" name="Arc 41" descr="Arc moving up">
                <a:extLst>
                  <a:ext uri="{FF2B5EF4-FFF2-40B4-BE49-F238E27FC236}">
                    <a16:creationId xmlns:a16="http://schemas.microsoft.com/office/drawing/2014/main" id="{91A5A41F-0ACD-4C33-BA80-EAD3F5FD9E85}"/>
                  </a:ext>
                </a:extLst>
              </p:cNvPr>
              <p:cNvSpPr/>
              <p:nvPr/>
            </p:nvSpPr>
            <p:spPr bwMode="auto">
              <a:xfrm>
                <a:off x="6885888" y="1962444"/>
                <a:ext cx="3240548" cy="3240546"/>
              </a:xfrm>
              <a:prstGeom prst="arc">
                <a:avLst>
                  <a:gd name="adj1" fmla="val 16854201"/>
                  <a:gd name="adj2" fmla="val 20302681"/>
                </a:avLst>
              </a:prstGeom>
              <a:noFill/>
              <a:ln w="22225" cap="flat" cmpd="sng" algn="ctr">
                <a:solidFill>
                  <a:schemeClr val="bg1"/>
                </a:solid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pic>
            <p:nvPicPr>
              <p:cNvPr id="44" name="Graphic 43">
                <a:extLst>
                  <a:ext uri="{FF2B5EF4-FFF2-40B4-BE49-F238E27FC236}">
                    <a16:creationId xmlns:a16="http://schemas.microsoft.com/office/drawing/2014/main" id="{C082D757-9821-4099-B291-D081F9AEFFE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709869" y="3053987"/>
                <a:ext cx="441940" cy="441938"/>
              </a:xfrm>
              <a:prstGeom prst="rect">
                <a:avLst/>
              </a:prstGeom>
            </p:spPr>
          </p:pic>
          <p:pic>
            <p:nvPicPr>
              <p:cNvPr id="45" name="Graphic 44">
                <a:extLst>
                  <a:ext uri="{FF2B5EF4-FFF2-40B4-BE49-F238E27FC236}">
                    <a16:creationId xmlns:a16="http://schemas.microsoft.com/office/drawing/2014/main" id="{2A45CA13-B0AB-4F0B-A910-82C8ECC8320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322259" y="1751708"/>
                <a:ext cx="441940" cy="441940"/>
              </a:xfrm>
              <a:prstGeom prst="rect">
                <a:avLst/>
              </a:prstGeom>
            </p:spPr>
          </p:pic>
          <p:pic>
            <p:nvPicPr>
              <p:cNvPr id="46" name="Graphic 45">
                <a:extLst>
                  <a:ext uri="{FF2B5EF4-FFF2-40B4-BE49-F238E27FC236}">
                    <a16:creationId xmlns:a16="http://schemas.microsoft.com/office/drawing/2014/main" id="{7AF89F2B-22C5-4204-92F9-C727726A9B4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907000" y="3100304"/>
                <a:ext cx="441940" cy="441940"/>
              </a:xfrm>
              <a:prstGeom prst="rect">
                <a:avLst/>
              </a:prstGeom>
            </p:spPr>
          </p:pic>
          <p:pic>
            <p:nvPicPr>
              <p:cNvPr id="47" name="Graphic 46">
                <a:extLst>
                  <a:ext uri="{FF2B5EF4-FFF2-40B4-BE49-F238E27FC236}">
                    <a16:creationId xmlns:a16="http://schemas.microsoft.com/office/drawing/2014/main" id="{DB9CB3B1-2F38-4095-809C-F8524C5B369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8327560" y="4835181"/>
                <a:ext cx="441940" cy="441940"/>
              </a:xfrm>
              <a:prstGeom prst="rect">
                <a:avLst/>
              </a:prstGeom>
            </p:spPr>
          </p:pic>
        </p:grpSp>
        <p:sp>
          <p:nvSpPr>
            <p:cNvPr id="48" name="TextBox 47">
              <a:extLst>
                <a:ext uri="{FF2B5EF4-FFF2-40B4-BE49-F238E27FC236}">
                  <a16:creationId xmlns:a16="http://schemas.microsoft.com/office/drawing/2014/main" id="{C9FB3D34-6257-401C-96EB-104AC10DC351}"/>
                </a:ext>
              </a:extLst>
            </p:cNvPr>
            <p:cNvSpPr txBox="1"/>
            <p:nvPr/>
          </p:nvSpPr>
          <p:spPr>
            <a:xfrm>
              <a:off x="9485190" y="2704343"/>
              <a:ext cx="7645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IN"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30C3AC69-6B6C-4AC1-A882-39E3D1DBEDCF}"/>
              </a:ext>
            </a:extLst>
          </p:cNvPr>
          <p:cNvSpPr txBox="1"/>
          <p:nvPr/>
        </p:nvSpPr>
        <p:spPr>
          <a:xfrm>
            <a:off x="204192" y="1733949"/>
            <a:ext cx="5085939" cy="584201"/>
          </a:xfrm>
          <a:prstGeom prst="rect">
            <a:avLst/>
          </a:prstGeom>
          <a:noFill/>
          <a:ln>
            <a:no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Pre-migr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Organizational change mgmt. is key </a:t>
            </a:r>
          </a:p>
        </p:txBody>
      </p:sp>
      <p:sp>
        <p:nvSpPr>
          <p:cNvPr id="58" name="Arrow: Chevron 57" descr="Arrow pointing right">
            <a:extLst>
              <a:ext uri="{FF2B5EF4-FFF2-40B4-BE49-F238E27FC236}">
                <a16:creationId xmlns:a16="http://schemas.microsoft.com/office/drawing/2014/main" id="{925A8851-BF3C-4044-9D5F-D48198669DDB}"/>
              </a:ext>
            </a:extLst>
          </p:cNvPr>
          <p:cNvSpPr/>
          <p:nvPr/>
        </p:nvSpPr>
        <p:spPr>
          <a:xfrm>
            <a:off x="5416252"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Arrow: Chevron 53" descr="Arrow pointing right">
            <a:extLst>
              <a:ext uri="{FF2B5EF4-FFF2-40B4-BE49-F238E27FC236}">
                <a16:creationId xmlns:a16="http://schemas.microsoft.com/office/drawing/2014/main" id="{00D6BEA7-A120-42B5-8700-A6D1AD50AE20}"/>
              </a:ext>
            </a:extLst>
          </p:cNvPr>
          <p:cNvSpPr/>
          <p:nvPr/>
        </p:nvSpPr>
        <p:spPr>
          <a:xfrm>
            <a:off x="2632555" y="3304167"/>
            <a:ext cx="313966" cy="31396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14991040-B22F-494A-B6A1-C12578204DE4}"/>
              </a:ext>
            </a:extLst>
          </p:cNvPr>
          <p:cNvSpPr/>
          <p:nvPr/>
        </p:nvSpPr>
        <p:spPr bwMode="auto">
          <a:xfrm>
            <a:off x="158105"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Segoe UI"/>
                <a:cs typeface="Segoe UI Semibold"/>
              </a:rPr>
              <a:t>Define strategy</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strategy</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Center of excellence</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Partner engagement</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65B90877-3E85-49B5-964E-F2878F1CFFDC}"/>
              </a:ext>
            </a:extLst>
          </p:cNvPr>
          <p:cNvSpPr/>
          <p:nvPr/>
        </p:nvSpPr>
        <p:spPr bwMode="auto">
          <a:xfrm>
            <a:off x="2818883" y="4071587"/>
            <a:ext cx="2517335" cy="155635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03" tIns="0" rIns="91403" bIns="0"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100000"/>
              </a:lnSpc>
              <a:spcBef>
                <a:spcPts val="400"/>
              </a:spcBef>
              <a:spcAft>
                <a:spcPts val="400"/>
              </a:spcAft>
              <a:buClrTx/>
              <a:buSzTx/>
              <a:buFontTx/>
              <a:buNone/>
              <a:tabLst/>
              <a:defRPr/>
            </a:pPr>
            <a:r>
              <a:rPr kumimoji="0" lang="en-US" sz="1800" b="0" i="0" u="none" strike="noStrike" kern="0" cap="none" spc="0" normalizeH="0" baseline="0" noProof="0">
                <a:ln>
                  <a:noFill/>
                </a:ln>
                <a:solidFill>
                  <a:srgbClr val="50E6FF"/>
                </a:solidFill>
                <a:effectLst/>
                <a:uLnTx/>
                <a:uFillTx/>
                <a:latin typeface="Segoe UI Semibold"/>
                <a:ea typeface="+mn-ea"/>
                <a:cs typeface="Segoe UI Semibold"/>
              </a:rPr>
              <a:t>Plan</a:t>
            </a: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Assessment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TCO/Business case </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 </a:t>
            </a:r>
            <a:r>
              <a:rPr kumimoji="0" lang="en-US" sz="1400" b="0" i="0" u="none" strike="noStrike" kern="120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mn-ea"/>
              <a:cs typeface="Segoe UI" pitchFamily="34" charset="0"/>
              <a:sym typeface="Webdings" panose="05030102010509060703" pitchFamily="18" charset="2"/>
            </a:endParaRPr>
          </a:p>
          <a:p>
            <a:pPr marL="0" marR="0" lvl="0" indent="0" algn="ctr" defTabSz="932103" rtl="0" eaLnBrk="1" fontAlgn="base"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Migration plan</a:t>
            </a: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sym typeface="Webdings" panose="05030102010509060703" pitchFamily="18" charset="2"/>
              </a:rPr>
              <a:t></a:t>
            </a:r>
            <a:endPar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73DF9A46-137E-480E-8C61-4EED911E292C}"/>
              </a:ext>
              <a:ext uri="{C183D7F6-B498-43B3-948B-1728B52AA6E4}">
                <adec:decorative xmlns:adec="http://schemas.microsoft.com/office/drawing/2017/decorative" xmlns="" val="1"/>
              </a:ext>
            </a:extLst>
          </p:cNvPr>
          <p:cNvCxnSpPr>
            <a:cxnSpLocks/>
          </p:cNvCxnSpPr>
          <p:nvPr/>
        </p:nvCxnSpPr>
        <p:spPr>
          <a:xfrm flipH="1">
            <a:off x="2747161" y="4521496"/>
            <a:ext cx="0" cy="1106450"/>
          </a:xfrm>
          <a:prstGeom prst="line">
            <a:avLst/>
          </a:prstGeom>
          <a:noFill/>
          <a:ln w="6350" cap="flat" cmpd="sng" algn="ctr">
            <a:solidFill>
              <a:sysClr val="window" lastClr="FFFFFF">
                <a:lumMod val="65000"/>
              </a:sysClr>
            </a:solidFill>
            <a:prstDash val="dash"/>
            <a:headEnd type="none" w="lg" len="med"/>
            <a:tailEnd type="none" w="lg" len="med"/>
          </a:ln>
          <a:effectLst/>
        </p:spPr>
      </p:cxnSp>
      <p:pic>
        <p:nvPicPr>
          <p:cNvPr id="3" name="Picture 2" descr="A picture containing drawing, table&#10;&#10;Description automatically generated">
            <a:extLst>
              <a:ext uri="{FF2B5EF4-FFF2-40B4-BE49-F238E27FC236}">
                <a16:creationId xmlns:a16="http://schemas.microsoft.com/office/drawing/2014/main" id="{B901A957-A005-498A-9316-F858470AEE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2263" y="3094575"/>
            <a:ext cx="749471" cy="749471"/>
          </a:xfrm>
          <a:prstGeom prst="rect">
            <a:avLst/>
          </a:prstGeom>
        </p:spPr>
      </p:pic>
      <p:pic>
        <p:nvPicPr>
          <p:cNvPr id="5" name="Picture 4" descr="A close up of a logo&#10;&#10;Description automatically generated">
            <a:extLst>
              <a:ext uri="{FF2B5EF4-FFF2-40B4-BE49-F238E27FC236}">
                <a16:creationId xmlns:a16="http://schemas.microsoft.com/office/drawing/2014/main" id="{C278CEF3-FF68-464D-B9FF-AF102739F66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19040" y="3115876"/>
            <a:ext cx="749471" cy="762174"/>
          </a:xfrm>
          <a:prstGeom prst="rect">
            <a:avLst/>
          </a:prstGeom>
        </p:spPr>
      </p:pic>
    </p:spTree>
    <p:extLst>
      <p:ext uri="{BB962C8B-B14F-4D97-AF65-F5344CB8AC3E}">
        <p14:creationId xmlns:p14="http://schemas.microsoft.com/office/powerpoint/2010/main" val="426944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9" name="Title 108">
            <a:extLst>
              <a:ext uri="{FF2B5EF4-FFF2-40B4-BE49-F238E27FC236}">
                <a16:creationId xmlns:a16="http://schemas.microsoft.com/office/drawing/2014/main" id="{A983B553-B6C3-4907-AEEB-83409A62B21F}"/>
              </a:ext>
            </a:extLst>
          </p:cNvPr>
          <p:cNvSpPr txBox="1">
            <a:spLocks noGrp="1"/>
          </p:cNvSpPr>
          <p:nvPr>
            <p:ph type="title" idx="4294967295"/>
          </p:nvPr>
        </p:nvSpPr>
        <p:spPr>
          <a:xfrm>
            <a:off x="16657" y="476034"/>
            <a:ext cx="1198451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49" normalizeH="0" baseline="0" noProof="0" dirty="0">
                <a:ln w="3175">
                  <a:noFill/>
                </a:ln>
                <a:solidFill>
                  <a:srgbClr val="50E6FF"/>
                </a:solidFill>
                <a:effectLst/>
                <a:uLnTx/>
                <a:uFillTx/>
                <a:latin typeface="Segoe UI Semibold"/>
                <a:ea typeface="+mn-ea"/>
                <a:cs typeface="Segoe UI"/>
              </a:rPr>
              <a:t>Azure Migration Program (AMP)</a:t>
            </a:r>
            <a:endParaRPr kumimoji="0" lang="en-IN" sz="3200" b="0" i="0" u="none" strike="noStrike" kern="1200" cap="none" spc="0" normalizeH="0" baseline="0" noProof="0" dirty="0">
              <a:ln>
                <a:noFill/>
              </a:ln>
              <a:solidFill>
                <a:srgbClr val="50E6FF"/>
              </a:solidFill>
              <a:effectLst/>
              <a:uLnTx/>
              <a:uFillTx/>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051824" y="1092602"/>
            <a:ext cx="9914177" cy="553998"/>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ptimize costs and migrate with confidence with the right expert help at every stage. Use best-practice guidance, direct access to Azure engineers, tools, and specialized partners.  </a:t>
            </a:r>
          </a:p>
        </p:txBody>
      </p:sp>
      <p:sp>
        <p:nvSpPr>
          <p:cNvPr id="108" name="Rectangle 107">
            <a:extLst>
              <a:ext uri="{FF2B5EF4-FFF2-40B4-BE49-F238E27FC236}">
                <a16:creationId xmlns:a16="http://schemas.microsoft.com/office/drawing/2014/main" id="{DF3EDCA6-151B-4001-81D0-856E31D305F7}"/>
              </a:ext>
            </a:extLst>
          </p:cNvPr>
          <p:cNvSpPr/>
          <p:nvPr/>
        </p:nvSpPr>
        <p:spPr>
          <a:xfrm>
            <a:off x="3397666" y="5682557"/>
            <a:ext cx="5593808" cy="374793"/>
          </a:xfrm>
          <a:prstGeom prst="rect">
            <a:avLst/>
          </a:prstGeom>
          <a:ln>
            <a:noFill/>
          </a:ln>
        </p:spPr>
        <p:txBody>
          <a:bodyPr wrap="square"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Learn more &amp; nominate </a:t>
            </a:r>
            <a:r>
              <a:rPr kumimoji="0" lang="en-US" sz="1800" b="0" i="0" u="none" strike="noStrike" kern="1200" cap="none" spc="0" normalizeH="0" baseline="0" noProof="0">
                <a:ln>
                  <a:noFill/>
                </a:ln>
                <a:gradFill>
                  <a:gsLst>
                    <a:gs pos="1250">
                      <a:srgbClr val="000000">
                        <a:lumMod val="75000"/>
                        <a:lumOff val="25000"/>
                      </a:srgbClr>
                    </a:gs>
                    <a:gs pos="100000">
                      <a:srgbClr val="000000">
                        <a:lumMod val="75000"/>
                        <a:lumOff val="25000"/>
                      </a:srgbClr>
                    </a:gs>
                  </a:gsLst>
                  <a:lin ang="5400000" scaled="0"/>
                </a:gradFill>
                <a:effectLst/>
                <a:uLnTx/>
                <a:uFillTx/>
                <a:latin typeface="Segoe UI Semibold"/>
                <a:ea typeface="+mn-ea"/>
                <a:cs typeface="+mn-cs"/>
              </a:rPr>
              <a:t>|</a:t>
            </a: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1800" b="0" i="0" u="none" strike="noStrike" kern="1200" cap="none" spc="0" normalizeH="0" baseline="0" noProof="0">
                <a:ln>
                  <a:noFill/>
                </a:ln>
                <a:gradFill>
                  <a:gsLst>
                    <a:gs pos="0">
                      <a:srgbClr val="50E6FF"/>
                    </a:gs>
                    <a:gs pos="100000">
                      <a:srgbClr val="50E6FF"/>
                    </a:gs>
                  </a:gsLst>
                  <a:lin ang="5400000" scaled="0"/>
                </a:gradFill>
                <a:effectLst/>
                <a:uLnTx/>
                <a:uFillTx/>
                <a:latin typeface="Segoe UI Semibold"/>
                <a:ea typeface="+mn-ea"/>
                <a:cs typeface="+mn-cs"/>
              </a:rPr>
              <a:t>Azure.com/AMP</a:t>
            </a:r>
          </a:p>
        </p:txBody>
      </p:sp>
      <p:grpSp>
        <p:nvGrpSpPr>
          <p:cNvPr id="126" name="Group 125">
            <a:extLst>
              <a:ext uri="{FF2B5EF4-FFF2-40B4-BE49-F238E27FC236}">
                <a16:creationId xmlns:a16="http://schemas.microsoft.com/office/drawing/2014/main" id="{DE930445-9675-480B-87C4-84F46EA52F6E}"/>
              </a:ext>
              <a:ext uri="{C183D7F6-B498-43B3-948B-1728B52AA6E4}">
                <adec:decorative xmlns:adec="http://schemas.microsoft.com/office/drawing/2017/decorative" xmlns="" val="1"/>
              </a:ext>
            </a:extLst>
          </p:cNvPr>
          <p:cNvGrpSpPr/>
          <p:nvPr/>
        </p:nvGrpSpPr>
        <p:grpSpPr>
          <a:xfrm>
            <a:off x="2133838" y="2416756"/>
            <a:ext cx="8720103" cy="885316"/>
            <a:chOff x="2453763" y="2497594"/>
            <a:chExt cx="8721340" cy="885441"/>
          </a:xfrm>
        </p:grpSpPr>
        <p:sp>
          <p:nvSpPr>
            <p:cNvPr id="127" name="Rectangle 126">
              <a:extLst>
                <a:ext uri="{FF2B5EF4-FFF2-40B4-BE49-F238E27FC236}">
                  <a16:creationId xmlns:a16="http://schemas.microsoft.com/office/drawing/2014/main" id="{C16391B4-E1DA-4ADF-BF75-5C748C78E56D}"/>
                </a:ext>
              </a:extLst>
            </p:cNvPr>
            <p:cNvSpPr/>
            <p:nvPr/>
          </p:nvSpPr>
          <p:spPr bwMode="auto">
            <a:xfrm>
              <a:off x="2453763" y="2497594"/>
              <a:ext cx="4308296"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Proven methodology: Cloud Adoption Framework</a:t>
              </a:r>
            </a:p>
          </p:txBody>
        </p:sp>
        <p:sp>
          <p:nvSpPr>
            <p:cNvPr id="128" name="Rectangle 127">
              <a:extLst>
                <a:ext uri="{FF2B5EF4-FFF2-40B4-BE49-F238E27FC236}">
                  <a16:creationId xmlns:a16="http://schemas.microsoft.com/office/drawing/2014/main" id="{AB944FEE-79AC-4BE9-8F37-8B809CE7F63D}"/>
                </a:ext>
              </a:extLst>
            </p:cNvPr>
            <p:cNvSpPr/>
            <p:nvPr/>
          </p:nvSpPr>
          <p:spPr bwMode="auto">
            <a:xfrm>
              <a:off x="6786920" y="2497594"/>
              <a:ext cx="4388183"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129" name="dev testing" descr="dev testing">
              <a:extLst>
                <a:ext uri="{FF2B5EF4-FFF2-40B4-BE49-F238E27FC236}">
                  <a16:creationId xmlns:a16="http://schemas.microsoft.com/office/drawing/2014/main" id="{66327CA7-FEEB-4887-A517-873E0C1D6E0B}"/>
                </a:ext>
              </a:extLst>
            </p:cNvPr>
            <p:cNvGrpSpPr>
              <a:grpSpLocks noChangeAspect="1"/>
            </p:cNvGrpSpPr>
            <p:nvPr/>
          </p:nvGrpSpPr>
          <p:grpSpPr bwMode="auto">
            <a:xfrm>
              <a:off x="6793127" y="2757846"/>
              <a:ext cx="435074" cy="364938"/>
              <a:chOff x="448" y="808"/>
              <a:chExt cx="262" cy="235"/>
            </a:xfrm>
          </p:grpSpPr>
          <p:sp>
            <p:nvSpPr>
              <p:cNvPr id="141" name="AutoShape 3">
                <a:extLst>
                  <a:ext uri="{FF2B5EF4-FFF2-40B4-BE49-F238E27FC236}">
                    <a16:creationId xmlns:a16="http://schemas.microsoft.com/office/drawing/2014/main" id="{FFE11C55-AADB-44C8-AC37-81397F48883E}"/>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5">
                <a:extLst>
                  <a:ext uri="{FF2B5EF4-FFF2-40B4-BE49-F238E27FC236}">
                    <a16:creationId xmlns:a16="http://schemas.microsoft.com/office/drawing/2014/main" id="{9BE5B8BB-45B8-402B-9E2E-202D7A8C2F5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6">
                <a:extLst>
                  <a:ext uri="{FF2B5EF4-FFF2-40B4-BE49-F238E27FC236}">
                    <a16:creationId xmlns:a16="http://schemas.microsoft.com/office/drawing/2014/main" id="{B64B8368-E18D-4D38-B355-54FE8CECD9B0}"/>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7">
                <a:extLst>
                  <a:ext uri="{FF2B5EF4-FFF2-40B4-BE49-F238E27FC236}">
                    <a16:creationId xmlns:a16="http://schemas.microsoft.com/office/drawing/2014/main" id="{516589BA-F51E-4EF3-AA5B-C273C811EDB2}"/>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8">
                <a:extLst>
                  <a:ext uri="{FF2B5EF4-FFF2-40B4-BE49-F238E27FC236}">
                    <a16:creationId xmlns:a16="http://schemas.microsoft.com/office/drawing/2014/main" id="{27F80532-1E8C-42F0-BB9C-6C7D1A183D82}"/>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
                <a:extLst>
                  <a:ext uri="{FF2B5EF4-FFF2-40B4-BE49-F238E27FC236}">
                    <a16:creationId xmlns:a16="http://schemas.microsoft.com/office/drawing/2014/main" id="{89051D13-A9E5-4849-8BBF-93995B8037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0">
                <a:extLst>
                  <a:ext uri="{FF2B5EF4-FFF2-40B4-BE49-F238E27FC236}">
                    <a16:creationId xmlns:a16="http://schemas.microsoft.com/office/drawing/2014/main" id="{B5117FCC-2FE8-4DD2-A6C8-428399A686FC}"/>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1">
                <a:extLst>
                  <a:ext uri="{FF2B5EF4-FFF2-40B4-BE49-F238E27FC236}">
                    <a16:creationId xmlns:a16="http://schemas.microsoft.com/office/drawing/2014/main" id="{DCC5E819-2720-4C60-AAA5-7C2E61089116}"/>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12">
                <a:extLst>
                  <a:ext uri="{FF2B5EF4-FFF2-40B4-BE49-F238E27FC236}">
                    <a16:creationId xmlns:a16="http://schemas.microsoft.com/office/drawing/2014/main" id="{EB0BBE60-C08D-4B7B-97E8-C262A30775F0}"/>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Rectangle 13">
                <a:extLst>
                  <a:ext uri="{FF2B5EF4-FFF2-40B4-BE49-F238E27FC236}">
                    <a16:creationId xmlns:a16="http://schemas.microsoft.com/office/drawing/2014/main" id="{25CFD59F-A38D-494C-8037-C7DF9C0E5E5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4">
                <a:extLst>
                  <a:ext uri="{FF2B5EF4-FFF2-40B4-BE49-F238E27FC236}">
                    <a16:creationId xmlns:a16="http://schemas.microsoft.com/office/drawing/2014/main" id="{91540987-4B80-4254-9AFA-08E0BAA38EBA}"/>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15">
                <a:extLst>
                  <a:ext uri="{FF2B5EF4-FFF2-40B4-BE49-F238E27FC236}">
                    <a16:creationId xmlns:a16="http://schemas.microsoft.com/office/drawing/2014/main" id="{B0BD884D-950E-4548-A6CC-133557AA3C56}"/>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16">
                <a:extLst>
                  <a:ext uri="{FF2B5EF4-FFF2-40B4-BE49-F238E27FC236}">
                    <a16:creationId xmlns:a16="http://schemas.microsoft.com/office/drawing/2014/main" id="{8F8B0279-B86A-4FA7-83F6-CDBFB505F19E}"/>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0" name="modular 1" descr="modular">
              <a:extLst>
                <a:ext uri="{FF2B5EF4-FFF2-40B4-BE49-F238E27FC236}">
                  <a16:creationId xmlns:a16="http://schemas.microsoft.com/office/drawing/2014/main" id="{7C8FD92D-57C4-4D50-99EB-74D6804E0573}"/>
                </a:ext>
              </a:extLst>
            </p:cNvPr>
            <p:cNvGrpSpPr/>
            <p:nvPr/>
          </p:nvGrpSpPr>
          <p:grpSpPr>
            <a:xfrm>
              <a:off x="2497822" y="2745127"/>
              <a:ext cx="417438" cy="390376"/>
              <a:chOff x="3557434" y="2181241"/>
              <a:chExt cx="406193" cy="406193"/>
            </a:xfrm>
          </p:grpSpPr>
          <p:sp>
            <p:nvSpPr>
              <p:cNvPr id="131" name="Rectangle 458">
                <a:extLst>
                  <a:ext uri="{FF2B5EF4-FFF2-40B4-BE49-F238E27FC236}">
                    <a16:creationId xmlns:a16="http://schemas.microsoft.com/office/drawing/2014/main" id="{6C900AD9-B964-40DD-A1EF-D4D23F84EE8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459">
                <a:extLst>
                  <a:ext uri="{FF2B5EF4-FFF2-40B4-BE49-F238E27FC236}">
                    <a16:creationId xmlns:a16="http://schemas.microsoft.com/office/drawing/2014/main" id="{B33F1DFE-42FA-4BA7-B884-32F9981E09E6}"/>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460">
                <a:extLst>
                  <a:ext uri="{FF2B5EF4-FFF2-40B4-BE49-F238E27FC236}">
                    <a16:creationId xmlns:a16="http://schemas.microsoft.com/office/drawing/2014/main" id="{BCC57F00-1C17-4BAC-8EF0-E9CE6B0EEDBF}"/>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461">
                <a:extLst>
                  <a:ext uri="{FF2B5EF4-FFF2-40B4-BE49-F238E27FC236}">
                    <a16:creationId xmlns:a16="http://schemas.microsoft.com/office/drawing/2014/main" id="{F910D024-CA69-4549-B518-217B0DCD8953}"/>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462">
                <a:extLst>
                  <a:ext uri="{FF2B5EF4-FFF2-40B4-BE49-F238E27FC236}">
                    <a16:creationId xmlns:a16="http://schemas.microsoft.com/office/drawing/2014/main" id="{4C1BAE72-45BE-45B3-AA8B-E9088334BB5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463">
                <a:extLst>
                  <a:ext uri="{FF2B5EF4-FFF2-40B4-BE49-F238E27FC236}">
                    <a16:creationId xmlns:a16="http://schemas.microsoft.com/office/drawing/2014/main" id="{B86B426D-216A-487C-BCB7-6B078E754070}"/>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464">
                <a:extLst>
                  <a:ext uri="{FF2B5EF4-FFF2-40B4-BE49-F238E27FC236}">
                    <a16:creationId xmlns:a16="http://schemas.microsoft.com/office/drawing/2014/main" id="{33D5BF1B-9F01-446B-BFAE-6EF00B624841}"/>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465">
                <a:extLst>
                  <a:ext uri="{FF2B5EF4-FFF2-40B4-BE49-F238E27FC236}">
                    <a16:creationId xmlns:a16="http://schemas.microsoft.com/office/drawing/2014/main" id="{B271D1D5-A632-40F1-9A8F-0CC2143A2CC9}"/>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EE93242A-7D1F-401A-8BD6-CBDBA7BF3786}"/>
              </a:ext>
              <a:ext uri="{C183D7F6-B498-43B3-948B-1728B52AA6E4}">
                <adec:decorative xmlns:adec="http://schemas.microsoft.com/office/drawing/2017/decorative" xmlns="" val="1"/>
              </a:ext>
            </a:extLst>
          </p:cNvPr>
          <p:cNvGrpSpPr/>
          <p:nvPr/>
        </p:nvGrpSpPr>
        <p:grpSpPr>
          <a:xfrm>
            <a:off x="2133838" y="3291984"/>
            <a:ext cx="8688190" cy="885316"/>
            <a:chOff x="2453763" y="3372946"/>
            <a:chExt cx="8689422" cy="885441"/>
          </a:xfrm>
        </p:grpSpPr>
        <p:sp>
          <p:nvSpPr>
            <p:cNvPr id="155" name="Rectangle 154">
              <a:extLst>
                <a:ext uri="{FF2B5EF4-FFF2-40B4-BE49-F238E27FC236}">
                  <a16:creationId xmlns:a16="http://schemas.microsoft.com/office/drawing/2014/main" id="{B7914293-D635-44B3-A0AD-0E07653D64F1}"/>
                </a:ext>
              </a:extLst>
            </p:cNvPr>
            <p:cNvSpPr/>
            <p:nvPr/>
          </p:nvSpPr>
          <p:spPr bwMode="auto">
            <a:xfrm>
              <a:off x="2453763" y="3372946"/>
              <a:ext cx="3878407"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sp>
          <p:nvSpPr>
            <p:cNvPr id="156" name="Rectangle 155">
              <a:extLst>
                <a:ext uri="{FF2B5EF4-FFF2-40B4-BE49-F238E27FC236}">
                  <a16:creationId xmlns:a16="http://schemas.microsoft.com/office/drawing/2014/main" id="{71F6984E-DB2E-40B1-915E-2D2D01C3456A}"/>
                </a:ext>
              </a:extLst>
            </p:cNvPr>
            <p:cNvSpPr/>
            <p:nvPr/>
          </p:nvSpPr>
          <p:spPr bwMode="auto">
            <a:xfrm>
              <a:off x="6786921" y="3372946"/>
              <a:ext cx="4356264"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57" name="Group 156">
              <a:extLst>
                <a:ext uri="{FF2B5EF4-FFF2-40B4-BE49-F238E27FC236}">
                  <a16:creationId xmlns:a16="http://schemas.microsoft.com/office/drawing/2014/main" id="{BE84BA97-5DCA-4CEC-B879-43B77FC41EF2}"/>
                </a:ext>
              </a:extLst>
            </p:cNvPr>
            <p:cNvGrpSpPr/>
            <p:nvPr/>
          </p:nvGrpSpPr>
          <p:grpSpPr>
            <a:xfrm>
              <a:off x="2457510" y="3564664"/>
              <a:ext cx="498062" cy="502004"/>
              <a:chOff x="9021415" y="2468324"/>
              <a:chExt cx="836453" cy="831199"/>
            </a:xfrm>
          </p:grpSpPr>
          <p:grpSp>
            <p:nvGrpSpPr>
              <p:cNvPr id="203" name="Group 202">
                <a:extLst>
                  <a:ext uri="{FF2B5EF4-FFF2-40B4-BE49-F238E27FC236}">
                    <a16:creationId xmlns:a16="http://schemas.microsoft.com/office/drawing/2014/main" id="{B04768E7-B7DB-4372-9B27-D3E566F0B1F7}"/>
                  </a:ext>
                </a:extLst>
              </p:cNvPr>
              <p:cNvGrpSpPr/>
              <p:nvPr/>
            </p:nvGrpSpPr>
            <p:grpSpPr>
              <a:xfrm flipH="1">
                <a:off x="9021415" y="2468324"/>
                <a:ext cx="836453" cy="831199"/>
                <a:chOff x="9021415" y="2468324"/>
                <a:chExt cx="836453" cy="831199"/>
              </a:xfrm>
            </p:grpSpPr>
            <p:sp>
              <p:nvSpPr>
                <p:cNvPr id="205" name="Freeform: Shape 204">
                  <a:extLst>
                    <a:ext uri="{FF2B5EF4-FFF2-40B4-BE49-F238E27FC236}">
                      <a16:creationId xmlns:a16="http://schemas.microsoft.com/office/drawing/2014/main" id="{547E8123-F4A6-4400-87AA-35908E88D021}"/>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F7DF12C8-8E31-4CF3-9F66-7CAAED4443E8}"/>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6E30F4E5-DD2A-4CDC-89FA-2E56547CE205}"/>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1B5775A1-0843-45C2-887E-BC69CD776C82}"/>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4" name="Freeform: Shape 203">
                <a:extLst>
                  <a:ext uri="{FF2B5EF4-FFF2-40B4-BE49-F238E27FC236}">
                    <a16:creationId xmlns:a16="http://schemas.microsoft.com/office/drawing/2014/main" id="{BE2400B8-AF5C-4C4F-9A3D-75A30C4EE3A9}"/>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8" name="extend" descr="extend, connect, datacenters">
              <a:extLst>
                <a:ext uri="{FF2B5EF4-FFF2-40B4-BE49-F238E27FC236}">
                  <a16:creationId xmlns:a16="http://schemas.microsoft.com/office/drawing/2014/main" id="{EF434BE4-33DC-4D1D-A3F7-F3693DAB1FCD}"/>
                </a:ext>
              </a:extLst>
            </p:cNvPr>
            <p:cNvGrpSpPr>
              <a:grpSpLocks noChangeAspect="1"/>
            </p:cNvGrpSpPr>
            <p:nvPr/>
          </p:nvGrpSpPr>
          <p:grpSpPr bwMode="auto">
            <a:xfrm>
              <a:off x="6752361" y="3574108"/>
              <a:ext cx="516606" cy="483118"/>
              <a:chOff x="1633" y="784"/>
              <a:chExt cx="280" cy="280"/>
            </a:xfrm>
          </p:grpSpPr>
          <p:sp>
            <p:nvSpPr>
              <p:cNvPr id="159" name="Rectangle 18">
                <a:extLst>
                  <a:ext uri="{FF2B5EF4-FFF2-40B4-BE49-F238E27FC236}">
                    <a16:creationId xmlns:a16="http://schemas.microsoft.com/office/drawing/2014/main" id="{39F5CF7F-A1FF-4B1D-8AF4-56234A32867A}"/>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9">
                <a:extLst>
                  <a:ext uri="{FF2B5EF4-FFF2-40B4-BE49-F238E27FC236}">
                    <a16:creationId xmlns:a16="http://schemas.microsoft.com/office/drawing/2014/main" id="{0B1DACF3-BAC1-4440-9D81-237E6F1BBB00}"/>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20">
                <a:extLst>
                  <a:ext uri="{FF2B5EF4-FFF2-40B4-BE49-F238E27FC236}">
                    <a16:creationId xmlns:a16="http://schemas.microsoft.com/office/drawing/2014/main" id="{46AC486F-5D76-4C33-BB68-241425D4E2D8}"/>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21">
                <a:extLst>
                  <a:ext uri="{FF2B5EF4-FFF2-40B4-BE49-F238E27FC236}">
                    <a16:creationId xmlns:a16="http://schemas.microsoft.com/office/drawing/2014/main" id="{5B152662-25AF-4D9B-B085-83F52A511EF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22">
                <a:extLst>
                  <a:ext uri="{FF2B5EF4-FFF2-40B4-BE49-F238E27FC236}">
                    <a16:creationId xmlns:a16="http://schemas.microsoft.com/office/drawing/2014/main" id="{5FA998AA-3361-4DBD-98FE-748E6247D681}"/>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23">
                <a:extLst>
                  <a:ext uri="{FF2B5EF4-FFF2-40B4-BE49-F238E27FC236}">
                    <a16:creationId xmlns:a16="http://schemas.microsoft.com/office/drawing/2014/main" id="{35FFC653-CE7C-4395-B883-ABA559EDD70A}"/>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24">
                <a:extLst>
                  <a:ext uri="{FF2B5EF4-FFF2-40B4-BE49-F238E27FC236}">
                    <a16:creationId xmlns:a16="http://schemas.microsoft.com/office/drawing/2014/main" id="{4D07F4CC-4573-4103-8C2D-8359F5706617}"/>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25">
                <a:extLst>
                  <a:ext uri="{FF2B5EF4-FFF2-40B4-BE49-F238E27FC236}">
                    <a16:creationId xmlns:a16="http://schemas.microsoft.com/office/drawing/2014/main" id="{AA8EF394-01DD-4CBD-AC1A-B85F5853FB55}"/>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26">
                <a:extLst>
                  <a:ext uri="{FF2B5EF4-FFF2-40B4-BE49-F238E27FC236}">
                    <a16:creationId xmlns:a16="http://schemas.microsoft.com/office/drawing/2014/main" id="{90809533-B803-4FEB-8F2B-590599087141}"/>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Oval 27">
                <a:extLst>
                  <a:ext uri="{FF2B5EF4-FFF2-40B4-BE49-F238E27FC236}">
                    <a16:creationId xmlns:a16="http://schemas.microsoft.com/office/drawing/2014/main" id="{CD775606-8F41-4B94-B3C9-00A508E17A8D}"/>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28">
                <a:extLst>
                  <a:ext uri="{FF2B5EF4-FFF2-40B4-BE49-F238E27FC236}">
                    <a16:creationId xmlns:a16="http://schemas.microsoft.com/office/drawing/2014/main" id="{90BCB28E-BA20-41B1-9EFE-94A29EF2D5B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9">
                <a:extLst>
                  <a:ext uri="{FF2B5EF4-FFF2-40B4-BE49-F238E27FC236}">
                    <a16:creationId xmlns:a16="http://schemas.microsoft.com/office/drawing/2014/main" id="{A31F538A-478D-4081-8295-D0C5479B13E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30">
                <a:extLst>
                  <a:ext uri="{FF2B5EF4-FFF2-40B4-BE49-F238E27FC236}">
                    <a16:creationId xmlns:a16="http://schemas.microsoft.com/office/drawing/2014/main" id="{F53F973D-06BC-48C5-A371-1BCFE6B6D18D}"/>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31">
                <a:extLst>
                  <a:ext uri="{FF2B5EF4-FFF2-40B4-BE49-F238E27FC236}">
                    <a16:creationId xmlns:a16="http://schemas.microsoft.com/office/drawing/2014/main" id="{A443096F-9751-49DE-B3B6-BDF356E52DD1}"/>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Oval 32">
                <a:extLst>
                  <a:ext uri="{FF2B5EF4-FFF2-40B4-BE49-F238E27FC236}">
                    <a16:creationId xmlns:a16="http://schemas.microsoft.com/office/drawing/2014/main" id="{9A999C5E-A75E-402C-ACB3-5DD7B2ECED6B}"/>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Oval 33">
                <a:extLst>
                  <a:ext uri="{FF2B5EF4-FFF2-40B4-BE49-F238E27FC236}">
                    <a16:creationId xmlns:a16="http://schemas.microsoft.com/office/drawing/2014/main" id="{60AA72A4-34A6-443D-9B34-6936B870AF0F}"/>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Rectangle 34">
                <a:extLst>
                  <a:ext uri="{FF2B5EF4-FFF2-40B4-BE49-F238E27FC236}">
                    <a16:creationId xmlns:a16="http://schemas.microsoft.com/office/drawing/2014/main" id="{4EBBBF04-1B74-4D32-84F6-4B89E6502E37}"/>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35">
                <a:extLst>
                  <a:ext uri="{FF2B5EF4-FFF2-40B4-BE49-F238E27FC236}">
                    <a16:creationId xmlns:a16="http://schemas.microsoft.com/office/drawing/2014/main" id="{10ED214E-9EC6-42ED-AE2D-9A862374AB14}"/>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Rectangle 36">
                <a:extLst>
                  <a:ext uri="{FF2B5EF4-FFF2-40B4-BE49-F238E27FC236}">
                    <a16:creationId xmlns:a16="http://schemas.microsoft.com/office/drawing/2014/main" id="{8128D719-1147-4830-8675-78B8B8666C79}"/>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09" name="Group 208">
            <a:extLst>
              <a:ext uri="{FF2B5EF4-FFF2-40B4-BE49-F238E27FC236}">
                <a16:creationId xmlns:a16="http://schemas.microsoft.com/office/drawing/2014/main" id="{2DA1BFC0-D60D-4CE7-BAC6-9E2D7913E5DB}"/>
              </a:ext>
              <a:ext uri="{C183D7F6-B498-43B3-948B-1728B52AA6E4}">
                <adec:decorative xmlns:adec="http://schemas.microsoft.com/office/drawing/2017/decorative" xmlns="" val="1"/>
              </a:ext>
            </a:extLst>
          </p:cNvPr>
          <p:cNvGrpSpPr/>
          <p:nvPr/>
        </p:nvGrpSpPr>
        <p:grpSpPr>
          <a:xfrm>
            <a:off x="2133838" y="4167212"/>
            <a:ext cx="8002323" cy="885316"/>
            <a:chOff x="2453763" y="4248298"/>
            <a:chExt cx="8003458" cy="885441"/>
          </a:xfrm>
        </p:grpSpPr>
        <p:sp>
          <p:nvSpPr>
            <p:cNvPr id="210" name="Rectangle 209">
              <a:extLst>
                <a:ext uri="{FF2B5EF4-FFF2-40B4-BE49-F238E27FC236}">
                  <a16:creationId xmlns:a16="http://schemas.microsoft.com/office/drawing/2014/main" id="{4BF4A431-566B-433F-8974-B840E6D16606}"/>
                </a:ext>
              </a:extLst>
            </p:cNvPr>
            <p:cNvSpPr/>
            <p:nvPr/>
          </p:nvSpPr>
          <p:spPr bwMode="auto">
            <a:xfrm>
              <a:off x="2453763" y="4248298"/>
              <a:ext cx="3843848"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sp>
          <p:nvSpPr>
            <p:cNvPr id="212" name="Rectangle 211">
              <a:extLst>
                <a:ext uri="{FF2B5EF4-FFF2-40B4-BE49-F238E27FC236}">
                  <a16:creationId xmlns:a16="http://schemas.microsoft.com/office/drawing/2014/main" id="{80EFC64A-2D90-4EA9-8623-2BC0D2FA0F4B}"/>
                </a:ext>
              </a:extLst>
            </p:cNvPr>
            <p:cNvSpPr/>
            <p:nvPr/>
          </p:nvSpPr>
          <p:spPr bwMode="auto">
            <a:xfrm>
              <a:off x="6786921" y="4248298"/>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213" name="evolve" descr="evolve">
              <a:extLst>
                <a:ext uri="{FF2B5EF4-FFF2-40B4-BE49-F238E27FC236}">
                  <a16:creationId xmlns:a16="http://schemas.microsoft.com/office/drawing/2014/main" id="{C4339322-8209-4B6C-8730-6E86404E2F9B}"/>
                </a:ext>
              </a:extLst>
            </p:cNvPr>
            <p:cNvGrpSpPr/>
            <p:nvPr/>
          </p:nvGrpSpPr>
          <p:grpSpPr>
            <a:xfrm>
              <a:off x="2487293" y="4484257"/>
              <a:ext cx="438496" cy="413522"/>
              <a:chOff x="748620" y="3040242"/>
              <a:chExt cx="415510" cy="419004"/>
            </a:xfrm>
          </p:grpSpPr>
          <p:sp>
            <p:nvSpPr>
              <p:cNvPr id="223" name="Freeform: Shape 222">
                <a:extLst>
                  <a:ext uri="{FF2B5EF4-FFF2-40B4-BE49-F238E27FC236}">
                    <a16:creationId xmlns:a16="http://schemas.microsoft.com/office/drawing/2014/main" id="{39731D87-EF8F-4D84-94D5-6D1D8F565014}"/>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DD17B6A8-D2A6-4C53-BF36-E4C4454CA307}"/>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34A1FCC6-E31D-4A13-8AD4-284CF052C863}"/>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4" name="Group 213">
              <a:extLst>
                <a:ext uri="{FF2B5EF4-FFF2-40B4-BE49-F238E27FC236}">
                  <a16:creationId xmlns:a16="http://schemas.microsoft.com/office/drawing/2014/main" id="{52DDA35E-9E25-4542-8F63-B1F4DBDC3D08}"/>
                </a:ext>
              </a:extLst>
            </p:cNvPr>
            <p:cNvGrpSpPr/>
            <p:nvPr/>
          </p:nvGrpSpPr>
          <p:grpSpPr>
            <a:xfrm>
              <a:off x="6767963" y="4504105"/>
              <a:ext cx="485402" cy="373826"/>
              <a:chOff x="9129142" y="4231699"/>
              <a:chExt cx="524769" cy="450130"/>
            </a:xfrm>
          </p:grpSpPr>
          <p:grpSp>
            <p:nvGrpSpPr>
              <p:cNvPr id="215" name="management at scale" descr="management at scale">
                <a:extLst>
                  <a:ext uri="{FF2B5EF4-FFF2-40B4-BE49-F238E27FC236}">
                    <a16:creationId xmlns:a16="http://schemas.microsoft.com/office/drawing/2014/main" id="{E5269333-9614-4359-9270-92CCED52E5ED}"/>
                  </a:ext>
                </a:extLst>
              </p:cNvPr>
              <p:cNvGrpSpPr>
                <a:grpSpLocks noChangeAspect="1"/>
              </p:cNvGrpSpPr>
              <p:nvPr/>
            </p:nvGrpSpPr>
            <p:grpSpPr bwMode="auto">
              <a:xfrm flipH="1" flipV="1">
                <a:off x="9257032" y="4231699"/>
                <a:ext cx="396879" cy="401633"/>
                <a:chOff x="2844" y="774"/>
                <a:chExt cx="250" cy="253"/>
              </a:xfrm>
            </p:grpSpPr>
            <p:sp>
              <p:nvSpPr>
                <p:cNvPr id="219" name="AutoShape 27">
                  <a:extLst>
                    <a:ext uri="{FF2B5EF4-FFF2-40B4-BE49-F238E27FC236}">
                      <a16:creationId xmlns:a16="http://schemas.microsoft.com/office/drawing/2014/main" id="{C9943D24-9089-4928-A682-BA965338378F}"/>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1E350BA4-CA20-4EB8-81C1-D538CB05872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58A1322D-AB9A-419F-BCA4-6A2C1455B82E}"/>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83DC83D5-024E-40D2-9EE0-8D5530E55DA6}"/>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6" name="person" descr="person">
                <a:extLst>
                  <a:ext uri="{FF2B5EF4-FFF2-40B4-BE49-F238E27FC236}">
                    <a16:creationId xmlns:a16="http://schemas.microsoft.com/office/drawing/2014/main" id="{348196ED-D057-489D-893D-CA05D795F90D}"/>
                  </a:ext>
                </a:extLst>
              </p:cNvPr>
              <p:cNvGrpSpPr/>
              <p:nvPr/>
            </p:nvGrpSpPr>
            <p:grpSpPr>
              <a:xfrm>
                <a:off x="9129142" y="4339601"/>
                <a:ext cx="271706" cy="342228"/>
                <a:chOff x="5522452" y="3368919"/>
                <a:chExt cx="224223" cy="282423"/>
              </a:xfrm>
            </p:grpSpPr>
            <p:sp>
              <p:nvSpPr>
                <p:cNvPr id="217" name="Freeform: Shape 216">
                  <a:extLst>
                    <a:ext uri="{FF2B5EF4-FFF2-40B4-BE49-F238E27FC236}">
                      <a16:creationId xmlns:a16="http://schemas.microsoft.com/office/drawing/2014/main" id="{256F4B7B-953E-4F12-BE78-4E1BB8E8F558}"/>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5AF9C0BD-1134-4D3B-8F7C-6768E9BE999D}"/>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26" name="Rectangle 225" descr="Table showing Azure Migration Program">
            <a:extLst>
              <a:ext uri="{FF2B5EF4-FFF2-40B4-BE49-F238E27FC236}">
                <a16:creationId xmlns:a16="http://schemas.microsoft.com/office/drawing/2014/main" id="{A2431A30-A58B-46CF-BA97-D87A18F57645}"/>
              </a:ext>
            </a:extLst>
          </p:cNvPr>
          <p:cNvSpPr/>
          <p:nvPr/>
        </p:nvSpPr>
        <p:spPr bwMode="auto">
          <a:xfrm>
            <a:off x="1535199" y="2306773"/>
            <a:ext cx="9318742" cy="2907493"/>
          </a:xfrm>
          <a:prstGeom prst="rect">
            <a:avLst/>
          </a:prstGeom>
          <a:solidFill>
            <a:schemeClr val="tx1">
              <a:lumMod val="50000"/>
            </a:schemeClr>
          </a:solidFill>
          <a:ln>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91F6C423-955E-4419-8916-32312EEE479B}"/>
              </a:ext>
              <a:ext uri="{C183D7F6-B498-43B3-948B-1728B52AA6E4}">
                <adec:decorative xmlns:adec="http://schemas.microsoft.com/office/drawing/2017/decorative" xmlns="" val="1"/>
              </a:ext>
            </a:extLst>
          </p:cNvPr>
          <p:cNvGrpSpPr/>
          <p:nvPr/>
        </p:nvGrpSpPr>
        <p:grpSpPr>
          <a:xfrm>
            <a:off x="2125273" y="2492062"/>
            <a:ext cx="8720103" cy="885316"/>
            <a:chOff x="2453763" y="2497594"/>
            <a:chExt cx="8721340" cy="885441"/>
          </a:xfrm>
        </p:grpSpPr>
        <p:sp>
          <p:nvSpPr>
            <p:cNvPr id="79" name="Rectangle 78">
              <a:extLst>
                <a:ext uri="{FF2B5EF4-FFF2-40B4-BE49-F238E27FC236}">
                  <a16:creationId xmlns:a16="http://schemas.microsoft.com/office/drawing/2014/main" id="{79E14772-7C39-4D4F-B93A-C48CB057E1C4}"/>
                </a:ext>
              </a:extLst>
            </p:cNvPr>
            <p:cNvSpPr/>
            <p:nvPr/>
          </p:nvSpPr>
          <p:spPr bwMode="auto">
            <a:xfrm>
              <a:off x="2453763" y="2497594"/>
              <a:ext cx="4308296"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Proven methodology: Cloud Adoption Framework</a:t>
              </a:r>
            </a:p>
          </p:txBody>
        </p:sp>
        <p:sp>
          <p:nvSpPr>
            <p:cNvPr id="80" name="Rectangle 79">
              <a:extLst>
                <a:ext uri="{FF2B5EF4-FFF2-40B4-BE49-F238E27FC236}">
                  <a16:creationId xmlns:a16="http://schemas.microsoft.com/office/drawing/2014/main" id="{97D78136-114B-42BE-A3C1-3A2B7C0E6951}"/>
                </a:ext>
              </a:extLst>
            </p:cNvPr>
            <p:cNvSpPr/>
            <p:nvPr/>
          </p:nvSpPr>
          <p:spPr bwMode="auto">
            <a:xfrm>
              <a:off x="6786920" y="2497594"/>
              <a:ext cx="4388183"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ree tools: Azure Migrate</a:t>
              </a:r>
            </a:p>
          </p:txBody>
        </p:sp>
        <p:grpSp>
          <p:nvGrpSpPr>
            <p:cNvPr id="81" name="dev testing" descr="dev testing">
              <a:extLst>
                <a:ext uri="{FF2B5EF4-FFF2-40B4-BE49-F238E27FC236}">
                  <a16:creationId xmlns:a16="http://schemas.microsoft.com/office/drawing/2014/main" id="{B29388B6-E93E-4584-B833-54738ACAB718}"/>
                </a:ext>
              </a:extLst>
            </p:cNvPr>
            <p:cNvGrpSpPr>
              <a:grpSpLocks noChangeAspect="1"/>
            </p:cNvGrpSpPr>
            <p:nvPr/>
          </p:nvGrpSpPr>
          <p:grpSpPr bwMode="auto">
            <a:xfrm>
              <a:off x="6793127" y="2757846"/>
              <a:ext cx="435074" cy="364938"/>
              <a:chOff x="448" y="808"/>
              <a:chExt cx="262" cy="235"/>
            </a:xfrm>
          </p:grpSpPr>
          <p:sp>
            <p:nvSpPr>
              <p:cNvPr id="91" name="AutoShape 3">
                <a:extLst>
                  <a:ext uri="{FF2B5EF4-FFF2-40B4-BE49-F238E27FC236}">
                    <a16:creationId xmlns:a16="http://schemas.microsoft.com/office/drawing/2014/main" id="{C5F48478-F5CA-4DAB-8D9A-6FB6BC9BF54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Rectangle 5">
                <a:extLst>
                  <a:ext uri="{FF2B5EF4-FFF2-40B4-BE49-F238E27FC236}">
                    <a16:creationId xmlns:a16="http://schemas.microsoft.com/office/drawing/2014/main" id="{9B698AE9-1BC8-4B3A-951D-996D235FF4DF}"/>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6">
                <a:extLst>
                  <a:ext uri="{FF2B5EF4-FFF2-40B4-BE49-F238E27FC236}">
                    <a16:creationId xmlns:a16="http://schemas.microsoft.com/office/drawing/2014/main" id="{107998ED-A1A8-4C3E-B3B2-C39490DDCD79}"/>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7">
                <a:extLst>
                  <a:ext uri="{FF2B5EF4-FFF2-40B4-BE49-F238E27FC236}">
                    <a16:creationId xmlns:a16="http://schemas.microsoft.com/office/drawing/2014/main" id="{93626225-A609-4297-8457-77ADFE39FC1C}"/>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8">
                <a:extLst>
                  <a:ext uri="{FF2B5EF4-FFF2-40B4-BE49-F238E27FC236}">
                    <a16:creationId xmlns:a16="http://schemas.microsoft.com/office/drawing/2014/main" id="{E9F39667-D1DF-4FEB-888E-AF87B935DDE6}"/>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9">
                <a:extLst>
                  <a:ext uri="{FF2B5EF4-FFF2-40B4-BE49-F238E27FC236}">
                    <a16:creationId xmlns:a16="http://schemas.microsoft.com/office/drawing/2014/main" id="{3D1B12C1-A507-49FF-80C5-3EEBD1FA8EB0}"/>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Rectangle 10">
                <a:extLst>
                  <a:ext uri="{FF2B5EF4-FFF2-40B4-BE49-F238E27FC236}">
                    <a16:creationId xmlns:a16="http://schemas.microsoft.com/office/drawing/2014/main" id="{739EA5D7-D9D5-4F1D-9C45-1D0F382FE65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Rectangle 11">
                <a:extLst>
                  <a:ext uri="{FF2B5EF4-FFF2-40B4-BE49-F238E27FC236}">
                    <a16:creationId xmlns:a16="http://schemas.microsoft.com/office/drawing/2014/main" id="{2C3339FA-880C-4C56-A360-6C488672E13B}"/>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Rectangle 12">
                <a:extLst>
                  <a:ext uri="{FF2B5EF4-FFF2-40B4-BE49-F238E27FC236}">
                    <a16:creationId xmlns:a16="http://schemas.microsoft.com/office/drawing/2014/main" id="{D2FEA75E-881C-406D-8162-9946C43F2A83}"/>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Rectangle 13">
                <a:extLst>
                  <a:ext uri="{FF2B5EF4-FFF2-40B4-BE49-F238E27FC236}">
                    <a16:creationId xmlns:a16="http://schemas.microsoft.com/office/drawing/2014/main" id="{3C463E28-82AC-475F-89C6-015BB8D7488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14">
                <a:extLst>
                  <a:ext uri="{FF2B5EF4-FFF2-40B4-BE49-F238E27FC236}">
                    <a16:creationId xmlns:a16="http://schemas.microsoft.com/office/drawing/2014/main" id="{3FE95AAC-1A02-4276-B860-7353FCE8128D}"/>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15">
                <a:extLst>
                  <a:ext uri="{FF2B5EF4-FFF2-40B4-BE49-F238E27FC236}">
                    <a16:creationId xmlns:a16="http://schemas.microsoft.com/office/drawing/2014/main" id="{810AAB11-F489-4530-ADD1-B7738270306B}"/>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16">
                <a:extLst>
                  <a:ext uri="{FF2B5EF4-FFF2-40B4-BE49-F238E27FC236}">
                    <a16:creationId xmlns:a16="http://schemas.microsoft.com/office/drawing/2014/main" id="{DC9F5EAA-467D-45A3-83B6-487F2666B83A}"/>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2" name="modular 1" descr="modular">
              <a:extLst>
                <a:ext uri="{FF2B5EF4-FFF2-40B4-BE49-F238E27FC236}">
                  <a16:creationId xmlns:a16="http://schemas.microsoft.com/office/drawing/2014/main" id="{C11B3B72-9821-4CB2-A43E-BF01893ACEC1}"/>
                </a:ext>
              </a:extLst>
            </p:cNvPr>
            <p:cNvGrpSpPr/>
            <p:nvPr/>
          </p:nvGrpSpPr>
          <p:grpSpPr>
            <a:xfrm>
              <a:off x="2497822" y="2745127"/>
              <a:ext cx="417438" cy="390376"/>
              <a:chOff x="3557434" y="2181241"/>
              <a:chExt cx="406193" cy="406193"/>
            </a:xfrm>
          </p:grpSpPr>
          <p:sp>
            <p:nvSpPr>
              <p:cNvPr id="83" name="Rectangle 458">
                <a:extLst>
                  <a:ext uri="{FF2B5EF4-FFF2-40B4-BE49-F238E27FC236}">
                    <a16:creationId xmlns:a16="http://schemas.microsoft.com/office/drawing/2014/main" id="{C102D4A8-5A87-46E3-91C8-BC6EA7E84F76}"/>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459">
                <a:extLst>
                  <a:ext uri="{FF2B5EF4-FFF2-40B4-BE49-F238E27FC236}">
                    <a16:creationId xmlns:a16="http://schemas.microsoft.com/office/drawing/2014/main" id="{A7112602-87EC-43EF-B8D6-D2983E80CAE1}"/>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460">
                <a:extLst>
                  <a:ext uri="{FF2B5EF4-FFF2-40B4-BE49-F238E27FC236}">
                    <a16:creationId xmlns:a16="http://schemas.microsoft.com/office/drawing/2014/main" id="{1BFBAADD-9E67-43CB-B557-7F009C15AFF2}"/>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461">
                <a:extLst>
                  <a:ext uri="{FF2B5EF4-FFF2-40B4-BE49-F238E27FC236}">
                    <a16:creationId xmlns:a16="http://schemas.microsoft.com/office/drawing/2014/main" id="{559924A5-A571-49B0-897A-51506CB0996D}"/>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462">
                <a:extLst>
                  <a:ext uri="{FF2B5EF4-FFF2-40B4-BE49-F238E27FC236}">
                    <a16:creationId xmlns:a16="http://schemas.microsoft.com/office/drawing/2014/main" id="{5AB018C0-6CE6-457E-AE77-412D74DE6547}"/>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463">
                <a:extLst>
                  <a:ext uri="{FF2B5EF4-FFF2-40B4-BE49-F238E27FC236}">
                    <a16:creationId xmlns:a16="http://schemas.microsoft.com/office/drawing/2014/main" id="{7272CDD5-9E3D-459B-8F59-F3CA3F5919D9}"/>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464">
                <a:extLst>
                  <a:ext uri="{FF2B5EF4-FFF2-40B4-BE49-F238E27FC236}">
                    <a16:creationId xmlns:a16="http://schemas.microsoft.com/office/drawing/2014/main" id="{B4F13207-8963-4A24-BE9A-5063717CBC86}"/>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465">
                <a:extLst>
                  <a:ext uri="{FF2B5EF4-FFF2-40B4-BE49-F238E27FC236}">
                    <a16:creationId xmlns:a16="http://schemas.microsoft.com/office/drawing/2014/main" id="{46321FEA-F5E3-4D4E-8E7A-BBB520C1738C}"/>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25B5CC75-EC3E-4E93-8849-CD876A3AA3DE}"/>
              </a:ext>
              <a:ext uri="{C183D7F6-B498-43B3-948B-1728B52AA6E4}">
                <adec:decorative xmlns:adec="http://schemas.microsoft.com/office/drawing/2017/decorative" xmlns="" val="1"/>
              </a:ext>
            </a:extLst>
          </p:cNvPr>
          <p:cNvGrpSpPr/>
          <p:nvPr/>
        </p:nvGrpSpPr>
        <p:grpSpPr>
          <a:xfrm>
            <a:off x="2125273" y="3367290"/>
            <a:ext cx="8688190" cy="885316"/>
            <a:chOff x="2453763" y="3372946"/>
            <a:chExt cx="8689422" cy="885441"/>
          </a:xfrm>
        </p:grpSpPr>
        <p:sp>
          <p:nvSpPr>
            <p:cNvPr id="105" name="Rectangle 104">
              <a:extLst>
                <a:ext uri="{FF2B5EF4-FFF2-40B4-BE49-F238E27FC236}">
                  <a16:creationId xmlns:a16="http://schemas.microsoft.com/office/drawing/2014/main" id="{E0B5EA12-9A79-4812-ABC9-5882F87CE977}"/>
                </a:ext>
              </a:extLst>
            </p:cNvPr>
            <p:cNvSpPr/>
            <p:nvPr/>
          </p:nvSpPr>
          <p:spPr bwMode="auto">
            <a:xfrm>
              <a:off x="2453763" y="3372946"/>
              <a:ext cx="3878407"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Cost-effective offers &amp; incentives</a:t>
              </a:r>
            </a:p>
          </p:txBody>
        </p:sp>
        <p:sp>
          <p:nvSpPr>
            <p:cNvPr id="106" name="Rectangle 105">
              <a:extLst>
                <a:ext uri="{FF2B5EF4-FFF2-40B4-BE49-F238E27FC236}">
                  <a16:creationId xmlns:a16="http://schemas.microsoft.com/office/drawing/2014/main" id="{6ED53D31-6F5B-442A-93F5-58A506CCE2EF}"/>
                </a:ext>
              </a:extLst>
            </p:cNvPr>
            <p:cNvSpPr/>
            <p:nvPr/>
          </p:nvSpPr>
          <p:spPr bwMode="auto">
            <a:xfrm>
              <a:off x="6786921" y="3372946"/>
              <a:ext cx="4356264"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In-depth assistance from FastTrack for Azure engineers</a:t>
              </a:r>
            </a:p>
          </p:txBody>
        </p:sp>
        <p:grpSp>
          <p:nvGrpSpPr>
            <p:cNvPr id="107" name="Group 106">
              <a:extLst>
                <a:ext uri="{FF2B5EF4-FFF2-40B4-BE49-F238E27FC236}">
                  <a16:creationId xmlns:a16="http://schemas.microsoft.com/office/drawing/2014/main" id="{021BE338-CF9B-4348-B67E-8CDA0F12EB4C}"/>
                </a:ext>
              </a:extLst>
            </p:cNvPr>
            <p:cNvGrpSpPr/>
            <p:nvPr/>
          </p:nvGrpSpPr>
          <p:grpSpPr>
            <a:xfrm>
              <a:off x="2457510" y="3564664"/>
              <a:ext cx="498062" cy="502004"/>
              <a:chOff x="9021415" y="2468324"/>
              <a:chExt cx="836453" cy="831199"/>
            </a:xfrm>
          </p:grpSpPr>
          <p:grpSp>
            <p:nvGrpSpPr>
              <p:cNvPr id="174" name="Group 173">
                <a:extLst>
                  <a:ext uri="{FF2B5EF4-FFF2-40B4-BE49-F238E27FC236}">
                    <a16:creationId xmlns:a16="http://schemas.microsoft.com/office/drawing/2014/main" id="{DF0FE0BA-F57A-44ED-A66B-98658E295DCF}"/>
                  </a:ext>
                </a:extLst>
              </p:cNvPr>
              <p:cNvGrpSpPr/>
              <p:nvPr/>
            </p:nvGrpSpPr>
            <p:grpSpPr>
              <a:xfrm flipH="1">
                <a:off x="9021415" y="2468324"/>
                <a:ext cx="836453" cy="831199"/>
                <a:chOff x="9021415" y="2468324"/>
                <a:chExt cx="836453" cy="831199"/>
              </a:xfrm>
            </p:grpSpPr>
            <p:sp>
              <p:nvSpPr>
                <p:cNvPr id="176" name="Freeform: Shape 175">
                  <a:extLst>
                    <a:ext uri="{FF2B5EF4-FFF2-40B4-BE49-F238E27FC236}">
                      <a16:creationId xmlns:a16="http://schemas.microsoft.com/office/drawing/2014/main" id="{0A40AE09-4893-49A8-93F1-94913E34549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0DFBF26-80E4-4C8E-A15E-77A45BDF8E9C}"/>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9E3EF952-ACD7-48BF-BDE0-CAE4F366F105}"/>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CFA512EF-A309-4125-A4CB-6F3FD1963C71}"/>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5" name="Freeform: Shape 174">
                <a:extLst>
                  <a:ext uri="{FF2B5EF4-FFF2-40B4-BE49-F238E27FC236}">
                    <a16:creationId xmlns:a16="http://schemas.microsoft.com/office/drawing/2014/main" id="{2300A0FF-AAD1-4327-A460-3F0437510F12}"/>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0" name="extend" descr="extend, connect, datacenters">
              <a:extLst>
                <a:ext uri="{FF2B5EF4-FFF2-40B4-BE49-F238E27FC236}">
                  <a16:creationId xmlns:a16="http://schemas.microsoft.com/office/drawing/2014/main" id="{9B7AB090-4BA1-4C7B-84CF-C5A32EDF32A3}"/>
                </a:ext>
              </a:extLst>
            </p:cNvPr>
            <p:cNvGrpSpPr>
              <a:grpSpLocks noChangeAspect="1"/>
            </p:cNvGrpSpPr>
            <p:nvPr/>
          </p:nvGrpSpPr>
          <p:grpSpPr bwMode="auto">
            <a:xfrm>
              <a:off x="6752361" y="3574108"/>
              <a:ext cx="516606" cy="483118"/>
              <a:chOff x="1633" y="784"/>
              <a:chExt cx="280" cy="280"/>
            </a:xfrm>
          </p:grpSpPr>
          <p:sp>
            <p:nvSpPr>
              <p:cNvPr id="112" name="Rectangle 18">
                <a:extLst>
                  <a:ext uri="{FF2B5EF4-FFF2-40B4-BE49-F238E27FC236}">
                    <a16:creationId xmlns:a16="http://schemas.microsoft.com/office/drawing/2014/main" id="{FA7BDD0E-DE62-4EBF-A0C1-EB941C3CF877}"/>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19">
                <a:extLst>
                  <a:ext uri="{FF2B5EF4-FFF2-40B4-BE49-F238E27FC236}">
                    <a16:creationId xmlns:a16="http://schemas.microsoft.com/office/drawing/2014/main" id="{A99F8729-CC96-4B8D-9394-BBA26012EA72}"/>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20">
                <a:extLst>
                  <a:ext uri="{FF2B5EF4-FFF2-40B4-BE49-F238E27FC236}">
                    <a16:creationId xmlns:a16="http://schemas.microsoft.com/office/drawing/2014/main" id="{D2EAD3BE-8598-4539-AA30-863AECA06412}"/>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21">
                <a:extLst>
                  <a:ext uri="{FF2B5EF4-FFF2-40B4-BE49-F238E27FC236}">
                    <a16:creationId xmlns:a16="http://schemas.microsoft.com/office/drawing/2014/main" id="{362CBA94-3A23-4D6F-8B13-F6DAA5DDF5C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22">
                <a:extLst>
                  <a:ext uri="{FF2B5EF4-FFF2-40B4-BE49-F238E27FC236}">
                    <a16:creationId xmlns:a16="http://schemas.microsoft.com/office/drawing/2014/main" id="{D658FA14-DEAA-4C0A-8781-0CF3E97C7638}"/>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23">
                <a:extLst>
                  <a:ext uri="{FF2B5EF4-FFF2-40B4-BE49-F238E27FC236}">
                    <a16:creationId xmlns:a16="http://schemas.microsoft.com/office/drawing/2014/main" id="{8D8C4AB9-705B-4CF4-8DF5-9ECC668F6B5F}"/>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Rectangle 24">
                <a:extLst>
                  <a:ext uri="{FF2B5EF4-FFF2-40B4-BE49-F238E27FC236}">
                    <a16:creationId xmlns:a16="http://schemas.microsoft.com/office/drawing/2014/main" id="{AA0BCE2E-0553-461F-98D6-E85E8091F6B6}"/>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Rectangle 25">
                <a:extLst>
                  <a:ext uri="{FF2B5EF4-FFF2-40B4-BE49-F238E27FC236}">
                    <a16:creationId xmlns:a16="http://schemas.microsoft.com/office/drawing/2014/main" id="{E42BB0B3-8315-4F1A-B655-D07388BBECD2}"/>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Rectangle 26">
                <a:extLst>
                  <a:ext uri="{FF2B5EF4-FFF2-40B4-BE49-F238E27FC236}">
                    <a16:creationId xmlns:a16="http://schemas.microsoft.com/office/drawing/2014/main" id="{641E6053-11CA-46C0-96F7-7956439B6E41}"/>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Oval 27">
                <a:extLst>
                  <a:ext uri="{FF2B5EF4-FFF2-40B4-BE49-F238E27FC236}">
                    <a16:creationId xmlns:a16="http://schemas.microsoft.com/office/drawing/2014/main" id="{5691035E-DCCC-437D-ACCF-7D7988C13028}"/>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28">
                <a:extLst>
                  <a:ext uri="{FF2B5EF4-FFF2-40B4-BE49-F238E27FC236}">
                    <a16:creationId xmlns:a16="http://schemas.microsoft.com/office/drawing/2014/main" id="{60C2FE9B-0580-4606-916F-6D8EE96282BE}"/>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29">
                <a:extLst>
                  <a:ext uri="{FF2B5EF4-FFF2-40B4-BE49-F238E27FC236}">
                    <a16:creationId xmlns:a16="http://schemas.microsoft.com/office/drawing/2014/main" id="{13AF237D-0931-4E28-8627-203F423D0122}"/>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30">
                <a:extLst>
                  <a:ext uri="{FF2B5EF4-FFF2-40B4-BE49-F238E27FC236}">
                    <a16:creationId xmlns:a16="http://schemas.microsoft.com/office/drawing/2014/main" id="{530D01F3-06FB-4836-8F06-3140B3DA7A6F}"/>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31">
                <a:extLst>
                  <a:ext uri="{FF2B5EF4-FFF2-40B4-BE49-F238E27FC236}">
                    <a16:creationId xmlns:a16="http://schemas.microsoft.com/office/drawing/2014/main" id="{BF5EEB19-6125-46B2-8C94-9C10FDB5A680}"/>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Oval 32">
                <a:extLst>
                  <a:ext uri="{FF2B5EF4-FFF2-40B4-BE49-F238E27FC236}">
                    <a16:creationId xmlns:a16="http://schemas.microsoft.com/office/drawing/2014/main" id="{91A3B3D2-E47B-4403-8B0D-ABF95B437D9C}"/>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Oval 33">
                <a:extLst>
                  <a:ext uri="{FF2B5EF4-FFF2-40B4-BE49-F238E27FC236}">
                    <a16:creationId xmlns:a16="http://schemas.microsoft.com/office/drawing/2014/main" id="{2439F258-6DAC-4D5C-90F8-243364E248AD}"/>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34">
                <a:extLst>
                  <a:ext uri="{FF2B5EF4-FFF2-40B4-BE49-F238E27FC236}">
                    <a16:creationId xmlns:a16="http://schemas.microsoft.com/office/drawing/2014/main" id="{B5761AB7-7082-4D6A-92F1-FEACC7ADB1A2}"/>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35">
                <a:extLst>
                  <a:ext uri="{FF2B5EF4-FFF2-40B4-BE49-F238E27FC236}">
                    <a16:creationId xmlns:a16="http://schemas.microsoft.com/office/drawing/2014/main" id="{4C0FA115-67BA-4B0A-AF4B-7100D79D10B1}"/>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36">
                <a:extLst>
                  <a:ext uri="{FF2B5EF4-FFF2-40B4-BE49-F238E27FC236}">
                    <a16:creationId xmlns:a16="http://schemas.microsoft.com/office/drawing/2014/main" id="{8521BA10-ABC0-44D2-8F35-103AA9A5C253}"/>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80" name="Group 179">
            <a:extLst>
              <a:ext uri="{FF2B5EF4-FFF2-40B4-BE49-F238E27FC236}">
                <a16:creationId xmlns:a16="http://schemas.microsoft.com/office/drawing/2014/main" id="{5B6DC67B-3F94-4EBE-AD58-6F85A6E753F4}"/>
              </a:ext>
              <a:ext uri="{C183D7F6-B498-43B3-948B-1728B52AA6E4}">
                <adec:decorative xmlns:adec="http://schemas.microsoft.com/office/drawing/2017/decorative" xmlns="" val="1"/>
              </a:ext>
            </a:extLst>
          </p:cNvPr>
          <p:cNvGrpSpPr/>
          <p:nvPr/>
        </p:nvGrpSpPr>
        <p:grpSpPr>
          <a:xfrm>
            <a:off x="2125273" y="4242518"/>
            <a:ext cx="8002323" cy="885316"/>
            <a:chOff x="2453763" y="4248298"/>
            <a:chExt cx="8003458" cy="885441"/>
          </a:xfrm>
        </p:grpSpPr>
        <p:sp>
          <p:nvSpPr>
            <p:cNvPr id="181" name="Rectangle 180">
              <a:extLst>
                <a:ext uri="{FF2B5EF4-FFF2-40B4-BE49-F238E27FC236}">
                  <a16:creationId xmlns:a16="http://schemas.microsoft.com/office/drawing/2014/main" id="{446747C7-4454-4A4F-A07F-9380C316E039}"/>
                </a:ext>
              </a:extLst>
            </p:cNvPr>
            <p:cNvSpPr/>
            <p:nvPr/>
          </p:nvSpPr>
          <p:spPr bwMode="auto">
            <a:xfrm>
              <a:off x="2453763" y="4248298"/>
              <a:ext cx="3843848"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Technical skill building  </a:t>
              </a:r>
            </a:p>
          </p:txBody>
        </p:sp>
        <p:sp>
          <p:nvSpPr>
            <p:cNvPr id="182" name="Rectangle 181">
              <a:extLst>
                <a:ext uri="{FF2B5EF4-FFF2-40B4-BE49-F238E27FC236}">
                  <a16:creationId xmlns:a16="http://schemas.microsoft.com/office/drawing/2014/main" id="{53C19FAE-8639-4B6E-8F93-0A0578E3FF09}"/>
                </a:ext>
              </a:extLst>
            </p:cNvPr>
            <p:cNvSpPr/>
            <p:nvPr/>
          </p:nvSpPr>
          <p:spPr bwMode="auto">
            <a:xfrm>
              <a:off x="6786921" y="4248298"/>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Expert help from specialized partners</a:t>
              </a:r>
            </a:p>
          </p:txBody>
        </p:sp>
        <p:grpSp>
          <p:nvGrpSpPr>
            <p:cNvPr id="183" name="evolve" descr="evolve">
              <a:extLst>
                <a:ext uri="{FF2B5EF4-FFF2-40B4-BE49-F238E27FC236}">
                  <a16:creationId xmlns:a16="http://schemas.microsoft.com/office/drawing/2014/main" id="{89B6138D-7AFA-4364-8D7D-FFBA8F3A9D93}"/>
                </a:ext>
              </a:extLst>
            </p:cNvPr>
            <p:cNvGrpSpPr/>
            <p:nvPr/>
          </p:nvGrpSpPr>
          <p:grpSpPr>
            <a:xfrm>
              <a:off x="2487293" y="4484257"/>
              <a:ext cx="438496" cy="413522"/>
              <a:chOff x="748620" y="3040242"/>
              <a:chExt cx="415510" cy="419004"/>
            </a:xfrm>
          </p:grpSpPr>
          <p:sp>
            <p:nvSpPr>
              <p:cNvPr id="193" name="Freeform: Shape 192">
                <a:extLst>
                  <a:ext uri="{FF2B5EF4-FFF2-40B4-BE49-F238E27FC236}">
                    <a16:creationId xmlns:a16="http://schemas.microsoft.com/office/drawing/2014/main" id="{4FED9A98-4C8E-487C-ADDA-46A138293603}"/>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AF7FB514-5A8A-4CB7-8207-956502AFDB4D}"/>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47501102-43CC-4627-8F0B-5E3806D22DD0}"/>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1839A102-39E7-482A-B66A-17BD4DE6A2D7}"/>
                </a:ext>
              </a:extLst>
            </p:cNvPr>
            <p:cNvGrpSpPr/>
            <p:nvPr/>
          </p:nvGrpSpPr>
          <p:grpSpPr>
            <a:xfrm>
              <a:off x="6767963" y="4504105"/>
              <a:ext cx="485402" cy="373826"/>
              <a:chOff x="9129142" y="4231699"/>
              <a:chExt cx="524769" cy="450130"/>
            </a:xfrm>
          </p:grpSpPr>
          <p:grpSp>
            <p:nvGrpSpPr>
              <p:cNvPr id="185" name="management at scale" descr="management at scale">
                <a:extLst>
                  <a:ext uri="{FF2B5EF4-FFF2-40B4-BE49-F238E27FC236}">
                    <a16:creationId xmlns:a16="http://schemas.microsoft.com/office/drawing/2014/main" id="{02E5DCFF-4522-45C4-B247-DC86B562CB6B}"/>
                  </a:ext>
                </a:extLst>
              </p:cNvPr>
              <p:cNvGrpSpPr>
                <a:grpSpLocks noChangeAspect="1"/>
              </p:cNvGrpSpPr>
              <p:nvPr/>
            </p:nvGrpSpPr>
            <p:grpSpPr bwMode="auto">
              <a:xfrm flipH="1" flipV="1">
                <a:off x="9257032" y="4231699"/>
                <a:ext cx="396879" cy="401633"/>
                <a:chOff x="2844" y="774"/>
                <a:chExt cx="250" cy="253"/>
              </a:xfrm>
            </p:grpSpPr>
            <p:sp>
              <p:nvSpPr>
                <p:cNvPr id="189" name="AutoShape 27">
                  <a:extLst>
                    <a:ext uri="{FF2B5EF4-FFF2-40B4-BE49-F238E27FC236}">
                      <a16:creationId xmlns:a16="http://schemas.microsoft.com/office/drawing/2014/main" id="{A99D09B5-9DE9-41FC-82DE-82BD58D430BD}"/>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29">
                  <a:extLst>
                    <a:ext uri="{FF2B5EF4-FFF2-40B4-BE49-F238E27FC236}">
                      <a16:creationId xmlns:a16="http://schemas.microsoft.com/office/drawing/2014/main" id="{73E0D89F-0CFC-4AA5-A559-847F6F3B17CD}"/>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30">
                  <a:extLst>
                    <a:ext uri="{FF2B5EF4-FFF2-40B4-BE49-F238E27FC236}">
                      <a16:creationId xmlns:a16="http://schemas.microsoft.com/office/drawing/2014/main" id="{200738CC-F55C-4E64-B079-45518E483A8B}"/>
                    </a:ext>
                  </a:extLst>
                </p:cNvPr>
                <p:cNvSpPr>
                  <a:spLocks/>
                </p:cNvSpPr>
                <p:nvPr/>
              </p:nvSpPr>
              <p:spPr bwMode="auto">
                <a:xfrm>
                  <a:off x="2946" y="970"/>
                  <a:ext cx="50"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31">
                  <a:extLst>
                    <a:ext uri="{FF2B5EF4-FFF2-40B4-BE49-F238E27FC236}">
                      <a16:creationId xmlns:a16="http://schemas.microsoft.com/office/drawing/2014/main" id="{B45043C9-A705-4B38-A8ED-872A15CE5283}"/>
                    </a:ext>
                  </a:extLst>
                </p:cNvPr>
                <p:cNvSpPr>
                  <a:spLocks/>
                </p:cNvSpPr>
                <p:nvPr/>
              </p:nvSpPr>
              <p:spPr bwMode="auto">
                <a:xfrm>
                  <a:off x="2849" y="872"/>
                  <a:ext cx="50"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6" name="person" descr="person">
                <a:extLst>
                  <a:ext uri="{FF2B5EF4-FFF2-40B4-BE49-F238E27FC236}">
                    <a16:creationId xmlns:a16="http://schemas.microsoft.com/office/drawing/2014/main" id="{D89A90A2-8276-4AC7-802B-E26416BA59B8}"/>
                  </a:ext>
                </a:extLst>
              </p:cNvPr>
              <p:cNvGrpSpPr/>
              <p:nvPr/>
            </p:nvGrpSpPr>
            <p:grpSpPr>
              <a:xfrm>
                <a:off x="9129142" y="4339601"/>
                <a:ext cx="271706" cy="342228"/>
                <a:chOff x="5522452" y="3368919"/>
                <a:chExt cx="224223" cy="282423"/>
              </a:xfrm>
            </p:grpSpPr>
            <p:sp>
              <p:nvSpPr>
                <p:cNvPr id="187" name="Freeform: Shape 186">
                  <a:extLst>
                    <a:ext uri="{FF2B5EF4-FFF2-40B4-BE49-F238E27FC236}">
                      <a16:creationId xmlns:a16="http://schemas.microsoft.com/office/drawing/2014/main" id="{55C0AF6C-184A-4BDF-9F0A-C4AAE70B8783}"/>
                    </a:ext>
                  </a:extLst>
                </p:cNvPr>
                <p:cNvSpPr/>
                <p:nvPr/>
              </p:nvSpPr>
              <p:spPr>
                <a:xfrm>
                  <a:off x="5573067" y="3368919"/>
                  <a:ext cx="121859"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80F74E53-C5A4-4C68-8B96-CA69C7605CAD}"/>
                    </a:ext>
                  </a:extLst>
                </p:cNvPr>
                <p:cNvSpPr/>
                <p:nvPr/>
              </p:nvSpPr>
              <p:spPr>
                <a:xfrm>
                  <a:off x="5522452" y="3519435"/>
                  <a:ext cx="224223"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Tree>
    <p:extLst>
      <p:ext uri="{BB962C8B-B14F-4D97-AF65-F5344CB8AC3E}">
        <p14:creationId xmlns:p14="http://schemas.microsoft.com/office/powerpoint/2010/main" val="84821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1.45833E-6 -4.07407E-6 L 1.45833E-6 0.01899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4.375E-6 -4.44444E-6 L 4.375E-6 0.01899 " pathEditMode="relative" rAng="0" ptsTypes="AA">
                                      <p:cBhvr>
                                        <p:cTn id="14" dur="700" spd="-100000" fill="hold"/>
                                        <p:tgtEl>
                                          <p:spTgt spid="111"/>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nodeType="withEffect">
                                  <p:stCondLst>
                                    <p:cond delay="100"/>
                                  </p:stCondLst>
                                  <p:childTnLst>
                                    <p:animMotion origin="layout" path="M -3.33333E-6 -4.44444E-6 L -3.33333E-6 0.03542 " pathEditMode="relative" rAng="0" ptsTypes="AA">
                                      <p:cBhvr>
                                        <p:cTn id="19" dur="500" spd="-100000" fill="hold"/>
                                        <p:tgtEl>
                                          <p:spTgt spid="126"/>
                                        </p:tgtEl>
                                        <p:attrNameLst>
                                          <p:attrName>ppt_x</p:attrName>
                                          <p:attrName>ppt_y</p:attrName>
                                        </p:attrNameLst>
                                      </p:cBhvr>
                                      <p:rCtr x="0" y="1759"/>
                                    </p:animMotion>
                                  </p:childTnLst>
                                </p:cTn>
                              </p:par>
                              <p:par>
                                <p:cTn id="20" presetID="10" presetClass="entr" presetSubtype="0" fill="hold" nodeType="withEffect">
                                  <p:stCondLst>
                                    <p:cond delay="200"/>
                                  </p:stCondLst>
                                  <p:childTnLst>
                                    <p:set>
                                      <p:cBhvr>
                                        <p:cTn id="21" dur="1" fill="hold">
                                          <p:stCondLst>
                                            <p:cond delay="0"/>
                                          </p:stCondLst>
                                        </p:cTn>
                                        <p:tgtEl>
                                          <p:spTgt spid="154"/>
                                        </p:tgtEl>
                                        <p:attrNameLst>
                                          <p:attrName>style.visibility</p:attrName>
                                        </p:attrNameLst>
                                      </p:cBhvr>
                                      <p:to>
                                        <p:strVal val="visible"/>
                                      </p:to>
                                    </p:set>
                                    <p:animEffect transition="in" filter="fade">
                                      <p:cBhvr>
                                        <p:cTn id="22" dur="500"/>
                                        <p:tgtEl>
                                          <p:spTgt spid="154"/>
                                        </p:tgtEl>
                                      </p:cBhvr>
                                    </p:animEffect>
                                  </p:childTnLst>
                                </p:cTn>
                              </p:par>
                              <p:par>
                                <p:cTn id="23" presetID="42" presetClass="path" presetSubtype="0" decel="100000" fill="hold" nodeType="withEffect">
                                  <p:stCondLst>
                                    <p:cond delay="200"/>
                                  </p:stCondLst>
                                  <p:childTnLst>
                                    <p:animMotion origin="layout" path="M -1.25E-6 -2.22222E-6 L -1.25E-6 0.03542 " pathEditMode="relative" rAng="0" ptsTypes="AA">
                                      <p:cBhvr>
                                        <p:cTn id="24" dur="500" spd="-100000" fill="hold"/>
                                        <p:tgtEl>
                                          <p:spTgt spid="154"/>
                                        </p:tgtEl>
                                        <p:attrNameLst>
                                          <p:attrName>ppt_x</p:attrName>
                                          <p:attrName>ppt_y</p:attrName>
                                        </p:attrNameLst>
                                      </p:cBhvr>
                                      <p:rCtr x="0" y="1759"/>
                                    </p:animMotion>
                                  </p:childTnLst>
                                </p:cTn>
                              </p:par>
                              <p:par>
                                <p:cTn id="25" presetID="10" presetClass="entr" presetSubtype="0" fill="hold" nodeType="withEffect">
                                  <p:stCondLst>
                                    <p:cond delay="300"/>
                                  </p:stCondLst>
                                  <p:childTnLst>
                                    <p:set>
                                      <p:cBhvr>
                                        <p:cTn id="26" dur="1" fill="hold">
                                          <p:stCondLst>
                                            <p:cond delay="0"/>
                                          </p:stCondLst>
                                        </p:cTn>
                                        <p:tgtEl>
                                          <p:spTgt spid="209"/>
                                        </p:tgtEl>
                                        <p:attrNameLst>
                                          <p:attrName>style.visibility</p:attrName>
                                        </p:attrNameLst>
                                      </p:cBhvr>
                                      <p:to>
                                        <p:strVal val="visible"/>
                                      </p:to>
                                    </p:set>
                                    <p:animEffect transition="in" filter="fade">
                                      <p:cBhvr>
                                        <p:cTn id="27" dur="500"/>
                                        <p:tgtEl>
                                          <p:spTgt spid="209"/>
                                        </p:tgtEl>
                                      </p:cBhvr>
                                    </p:animEffect>
                                  </p:childTnLst>
                                </p:cTn>
                              </p:par>
                              <p:par>
                                <p:cTn id="28" presetID="42" presetClass="path" presetSubtype="0" decel="100000" fill="hold" nodeType="withEffect">
                                  <p:stCondLst>
                                    <p:cond delay="300"/>
                                  </p:stCondLst>
                                  <p:childTnLst>
                                    <p:animMotion origin="layout" path="M 3.75E-6 1.48148E-6 L 3.75E-6 0.03542 " pathEditMode="relative" rAng="0" ptsTypes="AA">
                                      <p:cBhvr>
                                        <p:cTn id="29" dur="500" spd="-100000" fill="hold"/>
                                        <p:tgtEl>
                                          <p:spTgt spid="209"/>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78"/>
                                        </p:tgtEl>
                                        <p:attrNameLst>
                                          <p:attrName>style.visibility</p:attrName>
                                        </p:attrNameLst>
                                      </p:cBhvr>
                                      <p:to>
                                        <p:strVal val="visible"/>
                                      </p:to>
                                    </p:set>
                                    <p:animEffect transition="in" filter="fade">
                                      <p:cBhvr>
                                        <p:cTn id="32" dur="500"/>
                                        <p:tgtEl>
                                          <p:spTgt spid="78"/>
                                        </p:tgtEl>
                                      </p:cBhvr>
                                    </p:animEffect>
                                  </p:childTnLst>
                                </p:cTn>
                              </p:par>
                              <p:par>
                                <p:cTn id="33" presetID="42" presetClass="path" presetSubtype="0" decel="100000" fill="hold" nodeType="withEffect">
                                  <p:stCondLst>
                                    <p:cond delay="100"/>
                                  </p:stCondLst>
                                  <p:childTnLst>
                                    <p:animMotion origin="layout" path="M -3.33333E-6 -4.44444E-6 L -3.33333E-6 0.03542 " pathEditMode="relative" rAng="0" ptsTypes="AA">
                                      <p:cBhvr>
                                        <p:cTn id="34" dur="500" spd="-100000" fill="hold"/>
                                        <p:tgtEl>
                                          <p:spTgt spid="78"/>
                                        </p:tgtEl>
                                        <p:attrNameLst>
                                          <p:attrName>ppt_x</p:attrName>
                                          <p:attrName>ppt_y</p:attrName>
                                        </p:attrNameLst>
                                      </p:cBhvr>
                                      <p:rCtr x="0" y="1759"/>
                                    </p:animMotion>
                                  </p:childTnLst>
                                </p:cTn>
                              </p:par>
                              <p:par>
                                <p:cTn id="35" presetID="10" presetClass="entr" presetSubtype="0" fill="hold" nodeType="withEffect">
                                  <p:stCondLst>
                                    <p:cond delay="20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par>
                                <p:cTn id="38" presetID="42" presetClass="path" presetSubtype="0" decel="100000" fill="hold" nodeType="withEffect">
                                  <p:stCondLst>
                                    <p:cond delay="200"/>
                                  </p:stCondLst>
                                  <p:childTnLst>
                                    <p:animMotion origin="layout" path="M -1.25E-6 -2.22222E-6 L -1.25E-6 0.03542 " pathEditMode="relative" rAng="0" ptsTypes="AA">
                                      <p:cBhvr>
                                        <p:cTn id="39" dur="500" spd="-100000" fill="hold"/>
                                        <p:tgtEl>
                                          <p:spTgt spid="104"/>
                                        </p:tgtEl>
                                        <p:attrNameLst>
                                          <p:attrName>ppt_x</p:attrName>
                                          <p:attrName>ppt_y</p:attrName>
                                        </p:attrNameLst>
                                      </p:cBhvr>
                                      <p:rCtr x="0" y="1759"/>
                                    </p:animMotion>
                                  </p:childTnLst>
                                </p:cTn>
                              </p:par>
                              <p:par>
                                <p:cTn id="40" presetID="10" presetClass="entr" presetSubtype="0" fill="hold" nodeType="withEffect">
                                  <p:stCondLst>
                                    <p:cond delay="30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par>
                                <p:cTn id="43" presetID="42" presetClass="path" presetSubtype="0" decel="100000" fill="hold" nodeType="withEffect">
                                  <p:stCondLst>
                                    <p:cond delay="300"/>
                                  </p:stCondLst>
                                  <p:childTnLst>
                                    <p:animMotion origin="layout" path="M 3.75E-6 1.48148E-6 L 3.75E-6 0.03542 " pathEditMode="relative" rAng="0" ptsTypes="AA">
                                      <p:cBhvr>
                                        <p:cTn id="44" dur="500" spd="-100000" fill="hold"/>
                                        <p:tgtEl>
                                          <p:spTgt spid="18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6" name="Picture 52">
            <a:extLst>
              <a:ext uri="{FF2B5EF4-FFF2-40B4-BE49-F238E27FC236}">
                <a16:creationId xmlns:a16="http://schemas.microsoft.com/office/drawing/2014/main" id="{BC2D6908-E74F-4B38-9189-15A85FF943A1}"/>
              </a:ext>
              <a:ext uri="{C183D7F6-B498-43B3-948B-1728B52AA6E4}">
                <adec:decorative xmlns:adec="http://schemas.microsoft.com/office/drawing/2017/decorative" xmlns="" val="1"/>
              </a:ext>
            </a:extLst>
          </p:cNvPr>
          <p:cNvGrpSpPr/>
          <p:nvPr/>
        </p:nvGrpSpPr>
        <p:grpSpPr>
          <a:xfrm>
            <a:off x="563369" y="2526262"/>
            <a:ext cx="2786146" cy="1801860"/>
            <a:chOff x="2653753" y="2591824"/>
            <a:chExt cx="1624919" cy="1033449"/>
          </a:xfrm>
        </p:grpSpPr>
        <p:sp>
          <p:nvSpPr>
            <p:cNvPr id="7" name="Freeform: Shape 6">
              <a:extLst>
                <a:ext uri="{FF2B5EF4-FFF2-40B4-BE49-F238E27FC236}">
                  <a16:creationId xmlns:a16="http://schemas.microsoft.com/office/drawing/2014/main" id="{6B4F1E27-55E8-4767-AEA2-4ED36A9ECED7}"/>
                </a:ext>
              </a:extLst>
            </p:cNvPr>
            <p:cNvSpPr/>
            <p:nvPr/>
          </p:nvSpPr>
          <p:spPr>
            <a:xfrm>
              <a:off x="2871492" y="2591824"/>
              <a:ext cx="1407180" cy="812460"/>
            </a:xfrm>
            <a:custGeom>
              <a:avLst/>
              <a:gdLst>
                <a:gd name="connsiteX0" fmla="*/ 0 w 1407180"/>
                <a:gd name="connsiteY0" fmla="*/ 656468 h 812460"/>
                <a:gd name="connsiteX1" fmla="*/ 149493 w 1407180"/>
                <a:gd name="connsiteY1" fmla="*/ 812460 h 812460"/>
                <a:gd name="connsiteX2" fmla="*/ 1111445 w 1407180"/>
                <a:gd name="connsiteY2" fmla="*/ 812460 h 812460"/>
                <a:gd name="connsiteX3" fmla="*/ 1407181 w 1407180"/>
                <a:gd name="connsiteY3" fmla="*/ 536224 h 812460"/>
                <a:gd name="connsiteX4" fmla="*/ 1111445 w 1407180"/>
                <a:gd name="connsiteY4" fmla="*/ 259987 h 812460"/>
                <a:gd name="connsiteX5" fmla="*/ 1013950 w 1407180"/>
                <a:gd name="connsiteY5" fmla="*/ 276236 h 812460"/>
                <a:gd name="connsiteX6" fmla="*/ 604470 w 1407180"/>
                <a:gd name="connsiteY6" fmla="*/ 0 h 812460"/>
                <a:gd name="connsiteX7" fmla="*/ 601220 w 1407180"/>
                <a:gd name="connsiteY7" fmla="*/ 0 h 812460"/>
                <a:gd name="connsiteX8" fmla="*/ 168992 w 1407180"/>
                <a:gd name="connsiteY8" fmla="*/ 402980 h 812460"/>
                <a:gd name="connsiteX9" fmla="*/ 185241 w 1407180"/>
                <a:gd name="connsiteY9" fmla="*/ 510225 h 812460"/>
                <a:gd name="connsiteX10" fmla="*/ 162492 w 1407180"/>
                <a:gd name="connsiteY10" fmla="*/ 510225 h 812460"/>
                <a:gd name="connsiteX11" fmla="*/ 0 w 1407180"/>
                <a:gd name="connsiteY11" fmla="*/ 656468 h 81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7180" h="812460">
                  <a:moveTo>
                    <a:pt x="0" y="656468"/>
                  </a:moveTo>
                  <a:cubicBezTo>
                    <a:pt x="0" y="734464"/>
                    <a:pt x="64997" y="802710"/>
                    <a:pt x="149493" y="812460"/>
                  </a:cubicBezTo>
                  <a:lnTo>
                    <a:pt x="1111445" y="812460"/>
                  </a:lnTo>
                  <a:cubicBezTo>
                    <a:pt x="1273937" y="812460"/>
                    <a:pt x="1407181" y="688966"/>
                    <a:pt x="1407181" y="536224"/>
                  </a:cubicBezTo>
                  <a:cubicBezTo>
                    <a:pt x="1407181" y="380231"/>
                    <a:pt x="1273937" y="259987"/>
                    <a:pt x="1111445" y="259987"/>
                  </a:cubicBezTo>
                  <a:cubicBezTo>
                    <a:pt x="1075697" y="259987"/>
                    <a:pt x="1046449" y="269737"/>
                    <a:pt x="1013950" y="276236"/>
                  </a:cubicBezTo>
                  <a:cubicBezTo>
                    <a:pt x="955453" y="113744"/>
                    <a:pt x="792961" y="0"/>
                    <a:pt x="604470" y="0"/>
                  </a:cubicBezTo>
                  <a:cubicBezTo>
                    <a:pt x="604470" y="0"/>
                    <a:pt x="601220" y="0"/>
                    <a:pt x="601220" y="0"/>
                  </a:cubicBezTo>
                  <a:cubicBezTo>
                    <a:pt x="360732" y="0"/>
                    <a:pt x="168992" y="181991"/>
                    <a:pt x="168992" y="402980"/>
                  </a:cubicBezTo>
                  <a:cubicBezTo>
                    <a:pt x="168992" y="438728"/>
                    <a:pt x="178741" y="477727"/>
                    <a:pt x="185241" y="510225"/>
                  </a:cubicBezTo>
                  <a:lnTo>
                    <a:pt x="162492" y="510225"/>
                  </a:lnTo>
                  <a:cubicBezTo>
                    <a:pt x="74746" y="503725"/>
                    <a:pt x="0" y="568722"/>
                    <a:pt x="0" y="656468"/>
                  </a:cubicBezTo>
                </a:path>
              </a:pathLst>
            </a:custGeom>
            <a:solidFill>
              <a:srgbClr val="0072C6"/>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6C34CD08-9CD1-4719-82E1-6AF09487A628}"/>
                </a:ext>
              </a:extLst>
            </p:cNvPr>
            <p:cNvSpPr/>
            <p:nvPr/>
          </p:nvSpPr>
          <p:spPr>
            <a:xfrm>
              <a:off x="2653753" y="2718567"/>
              <a:ext cx="1563172" cy="906705"/>
            </a:xfrm>
            <a:custGeom>
              <a:avLst/>
              <a:gdLst>
                <a:gd name="connsiteX0" fmla="*/ 0 w 1563172"/>
                <a:gd name="connsiteY0" fmla="*/ 734464 h 906705"/>
                <a:gd name="connsiteX1" fmla="*/ 165742 w 1563172"/>
                <a:gd name="connsiteY1" fmla="*/ 906705 h 906705"/>
                <a:gd name="connsiteX2" fmla="*/ 1234939 w 1563172"/>
                <a:gd name="connsiteY2" fmla="*/ 906705 h 906705"/>
                <a:gd name="connsiteX3" fmla="*/ 1563173 w 1563172"/>
                <a:gd name="connsiteY3" fmla="*/ 597971 h 906705"/>
                <a:gd name="connsiteX4" fmla="*/ 1234939 w 1563172"/>
                <a:gd name="connsiteY4" fmla="*/ 289236 h 906705"/>
                <a:gd name="connsiteX5" fmla="*/ 1127695 w 1563172"/>
                <a:gd name="connsiteY5" fmla="*/ 308735 h 906705"/>
                <a:gd name="connsiteX6" fmla="*/ 672717 w 1563172"/>
                <a:gd name="connsiteY6" fmla="*/ 0 h 906705"/>
                <a:gd name="connsiteX7" fmla="*/ 669467 w 1563172"/>
                <a:gd name="connsiteY7" fmla="*/ 0 h 906705"/>
                <a:gd name="connsiteX8" fmla="*/ 188491 w 1563172"/>
                <a:gd name="connsiteY8" fmla="*/ 448478 h 906705"/>
                <a:gd name="connsiteX9" fmla="*/ 207990 w 1563172"/>
                <a:gd name="connsiteY9" fmla="*/ 565472 h 906705"/>
                <a:gd name="connsiteX10" fmla="*/ 181991 w 1563172"/>
                <a:gd name="connsiteY10" fmla="*/ 565472 h 906705"/>
                <a:gd name="connsiteX11" fmla="*/ 0 w 1563172"/>
                <a:gd name="connsiteY11" fmla="*/ 734464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172" h="906705">
                  <a:moveTo>
                    <a:pt x="0" y="734464"/>
                  </a:moveTo>
                  <a:cubicBezTo>
                    <a:pt x="0" y="822209"/>
                    <a:pt x="71496" y="896956"/>
                    <a:pt x="165742" y="906705"/>
                  </a:cubicBezTo>
                  <a:lnTo>
                    <a:pt x="1234939" y="906705"/>
                  </a:lnTo>
                  <a:cubicBezTo>
                    <a:pt x="1416930" y="906705"/>
                    <a:pt x="1563173" y="770212"/>
                    <a:pt x="1563173" y="597971"/>
                  </a:cubicBezTo>
                  <a:cubicBezTo>
                    <a:pt x="1563173" y="425729"/>
                    <a:pt x="1416930" y="289236"/>
                    <a:pt x="1234939" y="289236"/>
                  </a:cubicBezTo>
                  <a:cubicBezTo>
                    <a:pt x="1195941" y="289236"/>
                    <a:pt x="1160193" y="298985"/>
                    <a:pt x="1127695" y="308735"/>
                  </a:cubicBezTo>
                  <a:cubicBezTo>
                    <a:pt x="1062698" y="126744"/>
                    <a:pt x="883957" y="0"/>
                    <a:pt x="672717" y="0"/>
                  </a:cubicBez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path>
              </a:pathLst>
            </a:custGeom>
            <a:solidFill>
              <a:srgbClr val="59B4D9"/>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1501B19-A885-47B0-9548-46AA1AEF1E2F}"/>
                </a:ext>
              </a:extLst>
            </p:cNvPr>
            <p:cNvSpPr/>
            <p:nvPr/>
          </p:nvSpPr>
          <p:spPr>
            <a:xfrm>
              <a:off x="2653753" y="2718568"/>
              <a:ext cx="835208" cy="906705"/>
            </a:xfrm>
            <a:custGeom>
              <a:avLst/>
              <a:gdLst>
                <a:gd name="connsiteX0" fmla="*/ 672717 w 835208"/>
                <a:gd name="connsiteY0" fmla="*/ 0 h 906705"/>
                <a:gd name="connsiteX1" fmla="*/ 669467 w 835208"/>
                <a:gd name="connsiteY1" fmla="*/ 0 h 906705"/>
                <a:gd name="connsiteX2" fmla="*/ 188491 w 835208"/>
                <a:gd name="connsiteY2" fmla="*/ 448478 h 906705"/>
                <a:gd name="connsiteX3" fmla="*/ 207990 w 835208"/>
                <a:gd name="connsiteY3" fmla="*/ 565472 h 906705"/>
                <a:gd name="connsiteX4" fmla="*/ 181991 w 835208"/>
                <a:gd name="connsiteY4" fmla="*/ 565472 h 906705"/>
                <a:gd name="connsiteX5" fmla="*/ 0 w 835208"/>
                <a:gd name="connsiteY5" fmla="*/ 734464 h 906705"/>
                <a:gd name="connsiteX6" fmla="*/ 165742 w 835208"/>
                <a:gd name="connsiteY6" fmla="*/ 906705 h 906705"/>
                <a:gd name="connsiteX7" fmla="*/ 191741 w 835208"/>
                <a:gd name="connsiteY7" fmla="*/ 906705 h 906705"/>
                <a:gd name="connsiteX8" fmla="*/ 334734 w 835208"/>
                <a:gd name="connsiteY8" fmla="*/ 640219 h 906705"/>
                <a:gd name="connsiteX9" fmla="*/ 835209 w 835208"/>
                <a:gd name="connsiteY9" fmla="*/ 29249 h 906705"/>
                <a:gd name="connsiteX10" fmla="*/ 672717 w 835208"/>
                <a:gd name="connsiteY10" fmla="*/ 0 h 9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08" h="906705">
                  <a:moveTo>
                    <a:pt x="672717" y="0"/>
                  </a:moveTo>
                  <a:cubicBezTo>
                    <a:pt x="672717" y="0"/>
                    <a:pt x="669467" y="0"/>
                    <a:pt x="669467" y="0"/>
                  </a:cubicBezTo>
                  <a:cubicBezTo>
                    <a:pt x="402980" y="0"/>
                    <a:pt x="188491" y="201490"/>
                    <a:pt x="188491" y="448478"/>
                  </a:cubicBezTo>
                  <a:cubicBezTo>
                    <a:pt x="188491" y="490726"/>
                    <a:pt x="198240" y="529724"/>
                    <a:pt x="207990" y="565472"/>
                  </a:cubicBezTo>
                  <a:lnTo>
                    <a:pt x="181991" y="565472"/>
                  </a:lnTo>
                  <a:cubicBezTo>
                    <a:pt x="84496" y="565472"/>
                    <a:pt x="0" y="636969"/>
                    <a:pt x="0" y="734464"/>
                  </a:cubicBezTo>
                  <a:cubicBezTo>
                    <a:pt x="0" y="822209"/>
                    <a:pt x="71496" y="896956"/>
                    <a:pt x="165742" y="906705"/>
                  </a:cubicBezTo>
                  <a:lnTo>
                    <a:pt x="191741" y="906705"/>
                  </a:lnTo>
                  <a:cubicBezTo>
                    <a:pt x="94245" y="685716"/>
                    <a:pt x="334734" y="640219"/>
                    <a:pt x="334734" y="640219"/>
                  </a:cubicBezTo>
                  <a:cubicBezTo>
                    <a:pt x="311985" y="97495"/>
                    <a:pt x="822210" y="35748"/>
                    <a:pt x="835209" y="29249"/>
                  </a:cubicBezTo>
                  <a:cubicBezTo>
                    <a:pt x="786461" y="9750"/>
                    <a:pt x="731214" y="0"/>
                    <a:pt x="672717" y="0"/>
                  </a:cubicBezTo>
                  <a:close/>
                </a:path>
              </a:pathLst>
            </a:custGeom>
            <a:solidFill>
              <a:srgbClr val="FFFFFF">
                <a:alpha val="20000"/>
              </a:srgbClr>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ED0C2D10-2E9C-40CF-B4E5-996BECA922CE}"/>
                </a:ext>
              </a:extLst>
            </p:cNvPr>
            <p:cNvSpPr/>
            <p:nvPr/>
          </p:nvSpPr>
          <p:spPr>
            <a:xfrm>
              <a:off x="3111980" y="3085800"/>
              <a:ext cx="464727" cy="539473"/>
            </a:xfrm>
            <a:custGeom>
              <a:avLst/>
              <a:gdLst>
                <a:gd name="connsiteX0" fmla="*/ 71496 w 464727"/>
                <a:gd name="connsiteY0" fmla="*/ 0 h 539473"/>
                <a:gd name="connsiteX1" fmla="*/ 230739 w 464727"/>
                <a:gd name="connsiteY1" fmla="*/ 0 h 539473"/>
                <a:gd name="connsiteX2" fmla="*/ 464727 w 464727"/>
                <a:gd name="connsiteY2" fmla="*/ 233988 h 539473"/>
                <a:gd name="connsiteX3" fmla="*/ 155992 w 464727"/>
                <a:gd name="connsiteY3" fmla="*/ 539473 h 539473"/>
                <a:gd name="connsiteX4" fmla="*/ 0 w 464727"/>
                <a:gd name="connsiteY4" fmla="*/ 539473 h 539473"/>
                <a:gd name="connsiteX5" fmla="*/ 302235 w 464727"/>
                <a:gd name="connsiteY5" fmla="*/ 233988 h 53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727" h="539473">
                  <a:moveTo>
                    <a:pt x="71496" y="0"/>
                  </a:moveTo>
                  <a:lnTo>
                    <a:pt x="230739" y="0"/>
                  </a:lnTo>
                  <a:lnTo>
                    <a:pt x="464727" y="233988"/>
                  </a:lnTo>
                  <a:lnTo>
                    <a:pt x="155992" y="539473"/>
                  </a:lnTo>
                  <a:lnTo>
                    <a:pt x="0" y="539473"/>
                  </a:lnTo>
                  <a:lnTo>
                    <a:pt x="302235" y="233988"/>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0DB9D7C-E0D0-42AD-989B-258787D676D2}"/>
                </a:ext>
              </a:extLst>
            </p:cNvPr>
            <p:cNvSpPr/>
            <p:nvPr/>
          </p:nvSpPr>
          <p:spPr>
            <a:xfrm>
              <a:off x="3508460" y="2738067"/>
              <a:ext cx="380231" cy="412729"/>
            </a:xfrm>
            <a:custGeom>
              <a:avLst/>
              <a:gdLst>
                <a:gd name="connsiteX0" fmla="*/ 32498 w 380231"/>
                <a:gd name="connsiteY0" fmla="*/ 0 h 412729"/>
                <a:gd name="connsiteX1" fmla="*/ 194990 w 380231"/>
                <a:gd name="connsiteY1" fmla="*/ 0 h 412729"/>
                <a:gd name="connsiteX2" fmla="*/ 380231 w 380231"/>
                <a:gd name="connsiteY2" fmla="*/ 188491 h 412729"/>
                <a:gd name="connsiteX3" fmla="*/ 149493 w 380231"/>
                <a:gd name="connsiteY3" fmla="*/ 412730 h 412729"/>
                <a:gd name="connsiteX4" fmla="*/ 0 w 380231"/>
                <a:gd name="connsiteY4" fmla="*/ 412730 h 412729"/>
                <a:gd name="connsiteX5" fmla="*/ 217739 w 380231"/>
                <a:gd name="connsiteY5" fmla="*/ 185241 h 4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231" h="412729">
                  <a:moveTo>
                    <a:pt x="32498" y="0"/>
                  </a:moveTo>
                  <a:lnTo>
                    <a:pt x="194990" y="0"/>
                  </a:lnTo>
                  <a:lnTo>
                    <a:pt x="380231" y="188491"/>
                  </a:lnTo>
                  <a:lnTo>
                    <a:pt x="149493" y="412730"/>
                  </a:lnTo>
                  <a:lnTo>
                    <a:pt x="0" y="412730"/>
                  </a:lnTo>
                  <a:lnTo>
                    <a:pt x="217739" y="185241"/>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9BF7D3C-0ABD-4850-BFE4-AACF3F1DBBAF}"/>
                </a:ext>
              </a:extLst>
            </p:cNvPr>
            <p:cNvSpPr/>
            <p:nvPr/>
          </p:nvSpPr>
          <p:spPr>
            <a:xfrm>
              <a:off x="3674202" y="3157296"/>
              <a:ext cx="370481" cy="367231"/>
            </a:xfrm>
            <a:custGeom>
              <a:avLst/>
              <a:gdLst>
                <a:gd name="connsiteX0" fmla="*/ 55247 w 370481"/>
                <a:gd name="connsiteY0" fmla="*/ 0 h 367231"/>
                <a:gd name="connsiteX1" fmla="*/ 214489 w 370481"/>
                <a:gd name="connsiteY1" fmla="*/ 0 h 367231"/>
                <a:gd name="connsiteX2" fmla="*/ 370482 w 370481"/>
                <a:gd name="connsiteY2" fmla="*/ 155992 h 367231"/>
                <a:gd name="connsiteX3" fmla="*/ 155992 w 370481"/>
                <a:gd name="connsiteY3" fmla="*/ 367232 h 367231"/>
                <a:gd name="connsiteX4" fmla="*/ 0 w 370481"/>
                <a:gd name="connsiteY4" fmla="*/ 367232 h 367231"/>
                <a:gd name="connsiteX5" fmla="*/ 207990 w 370481"/>
                <a:gd name="connsiteY5" fmla="*/ 155992 h 36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481" h="367231">
                  <a:moveTo>
                    <a:pt x="55247" y="0"/>
                  </a:moveTo>
                  <a:lnTo>
                    <a:pt x="214489" y="0"/>
                  </a:lnTo>
                  <a:lnTo>
                    <a:pt x="370482" y="155992"/>
                  </a:lnTo>
                  <a:lnTo>
                    <a:pt x="155992" y="367232"/>
                  </a:lnTo>
                  <a:lnTo>
                    <a:pt x="0" y="367232"/>
                  </a:lnTo>
                  <a:lnTo>
                    <a:pt x="207990" y="155992"/>
                  </a:lnTo>
                  <a:close/>
                </a:path>
              </a:pathLst>
            </a:custGeom>
            <a:solidFill>
              <a:srgbClr val="FFFFFF"/>
            </a:solidFill>
            <a:ln w="32385" cap="flat">
              <a:noFill/>
              <a:prstDash val="solid"/>
              <a:miter/>
            </a:ln>
          </p:spPr>
          <p:txBody>
            <a:bodyPr rtlCol="0" anchor="ct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 name="Title 13">
            <a:extLst>
              <a:ext uri="{FF2B5EF4-FFF2-40B4-BE49-F238E27FC236}">
                <a16:creationId xmlns:a16="http://schemas.microsoft.com/office/drawing/2014/main" id="{D673A490-180D-4ADF-BE30-6E8EEF298383}"/>
              </a:ext>
            </a:extLst>
          </p:cNvPr>
          <p:cNvSpPr>
            <a:spLocks noGrp="1"/>
          </p:cNvSpPr>
          <p:nvPr>
            <p:ph type="title"/>
          </p:nvPr>
        </p:nvSpPr>
        <p:spPr/>
        <p:txBody>
          <a:bodyPr/>
          <a:lstStyle/>
          <a:p>
            <a:r>
              <a:rPr lang="en-US">
                <a:solidFill>
                  <a:schemeClr val="accent3"/>
                </a:solidFill>
              </a:rPr>
              <a:t>Azure Migrate</a:t>
            </a:r>
            <a:r>
              <a:rPr lang="en-US"/>
              <a:t/>
            </a:r>
            <a:br>
              <a:rPr lang="en-US"/>
            </a:br>
            <a:r>
              <a:rPr lang="en-US" sz="2400">
                <a:solidFill>
                  <a:schemeClr val="bg1"/>
                </a:solidFill>
                <a:latin typeface="+mn-lt"/>
              </a:rPr>
              <a:t>A central hub for datacenter migration</a:t>
            </a:r>
            <a:endParaRPr lang="en-US">
              <a:solidFill>
                <a:schemeClr val="bg1"/>
              </a:solidFill>
              <a:cs typeface="Segoe UI Semibold"/>
            </a:endParaRPr>
          </a:p>
        </p:txBody>
      </p:sp>
      <p:sp>
        <p:nvSpPr>
          <p:cNvPr id="2" name="TextBox 1">
            <a:extLst>
              <a:ext uri="{FF2B5EF4-FFF2-40B4-BE49-F238E27FC236}">
                <a16:creationId xmlns:a16="http://schemas.microsoft.com/office/drawing/2014/main" id="{F2BA0A52-1647-4A7D-BCC7-E2CD914CC9A8}"/>
              </a:ext>
            </a:extLst>
          </p:cNvPr>
          <p:cNvSpPr txBox="1"/>
          <p:nvPr/>
        </p:nvSpPr>
        <p:spPr>
          <a:xfrm>
            <a:off x="896857" y="4452659"/>
            <a:ext cx="2169505" cy="461665"/>
          </a:xfrm>
          <a:prstGeom prst="rect">
            <a:avLst/>
          </a:prstGeom>
          <a:noFill/>
        </p:spPr>
        <p:txBody>
          <a:bodyPr wrap="non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zure Migrate</a:t>
            </a:r>
          </a:p>
        </p:txBody>
      </p:sp>
      <p:sp>
        <p:nvSpPr>
          <p:cNvPr id="59" name="Rectangle 58">
            <a:extLst>
              <a:ext uri="{FF2B5EF4-FFF2-40B4-BE49-F238E27FC236}">
                <a16:creationId xmlns:a16="http://schemas.microsoft.com/office/drawing/2014/main" id="{53261FE1-0C0A-4903-A5A0-DE56D98FB1FB}"/>
              </a:ext>
            </a:extLst>
          </p:cNvPr>
          <p:cNvSpPr/>
          <p:nvPr/>
        </p:nvSpPr>
        <p:spPr>
          <a:xfrm>
            <a:off x="4073852" y="241711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Multiple scenarios </a:t>
            </a:r>
          </a:p>
        </p:txBody>
      </p:sp>
      <p:sp>
        <p:nvSpPr>
          <p:cNvPr id="21" name="Rectangle 20">
            <a:extLst>
              <a:ext uri="{FF2B5EF4-FFF2-40B4-BE49-F238E27FC236}">
                <a16:creationId xmlns:a16="http://schemas.microsoft.com/office/drawing/2014/main" id="{B37D4635-2E18-9948-B149-B0B5542AFC4C}"/>
              </a:ext>
            </a:extLst>
          </p:cNvPr>
          <p:cNvSpPr/>
          <p:nvPr/>
        </p:nvSpPr>
        <p:spPr>
          <a:xfrm>
            <a:off x="5752258" y="2443036"/>
            <a:ext cx="5886934" cy="594481"/>
          </a:xfrm>
          <a:prstGeom prst="rect">
            <a:avLst/>
          </a:prstGeom>
        </p:spPr>
        <p:txBody>
          <a:bodyPr wrap="square" anchor="ctr">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Migrate Windows and Linux Servers, Databases, Data, Web Applications and Virtual Desktops </a:t>
            </a:r>
          </a:p>
        </p:txBody>
      </p:sp>
      <p:grpSp>
        <p:nvGrpSpPr>
          <p:cNvPr id="4" name="Group 3">
            <a:extLst>
              <a:ext uri="{FF2B5EF4-FFF2-40B4-BE49-F238E27FC236}">
                <a16:creationId xmlns:a16="http://schemas.microsoft.com/office/drawing/2014/main" id="{BFF0D70D-5A85-4DA1-AFB8-EEFF7A852D34}"/>
              </a:ext>
              <a:ext uri="{C183D7F6-B498-43B3-948B-1728B52AA6E4}">
                <adec:decorative xmlns:adec="http://schemas.microsoft.com/office/drawing/2017/decorative" xmlns="" val="1"/>
              </a:ext>
            </a:extLst>
          </p:cNvPr>
          <p:cNvGrpSpPr/>
          <p:nvPr/>
        </p:nvGrpSpPr>
        <p:grpSpPr>
          <a:xfrm>
            <a:off x="3675342" y="2586608"/>
            <a:ext cx="307338" cy="307336"/>
            <a:chOff x="3504672" y="2212396"/>
            <a:chExt cx="601768" cy="601764"/>
          </a:xfrm>
        </p:grpSpPr>
        <p:sp>
          <p:nvSpPr>
            <p:cNvPr id="60" name="Oval 59">
              <a:extLst>
                <a:ext uri="{FF2B5EF4-FFF2-40B4-BE49-F238E27FC236}">
                  <a16:creationId xmlns:a16="http://schemas.microsoft.com/office/drawing/2014/main" id="{85094B12-E95E-2149-9B8A-74EC4E24023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3" name="Isosceles Triangle 2">
              <a:extLst>
                <a:ext uri="{FF2B5EF4-FFF2-40B4-BE49-F238E27FC236}">
                  <a16:creationId xmlns:a16="http://schemas.microsoft.com/office/drawing/2014/main" id="{03944565-1576-40B5-A7D2-F1C84E79750B}"/>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5" name="Straight Connector 14">
            <a:extLst>
              <a:ext uri="{FF2B5EF4-FFF2-40B4-BE49-F238E27FC236}">
                <a16:creationId xmlns:a16="http://schemas.microsoft.com/office/drawing/2014/main" id="{4B0540ED-15C2-49B2-B69E-7B9F3CA74EC3}"/>
              </a:ext>
              <a:ext uri="{C183D7F6-B498-43B3-948B-1728B52AA6E4}">
                <adec:decorative xmlns:adec="http://schemas.microsoft.com/office/drawing/2017/decorative" xmlns="" val="1"/>
              </a:ext>
            </a:extLst>
          </p:cNvPr>
          <p:cNvCxnSpPr>
            <a:cxnSpLocks/>
          </p:cNvCxnSpPr>
          <p:nvPr/>
        </p:nvCxnSpPr>
        <p:spPr>
          <a:xfrm>
            <a:off x="5618553" y="255841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7F65D6D-39AA-F04F-9868-B5A6FE6A2FD3}"/>
              </a:ext>
            </a:extLst>
          </p:cNvPr>
          <p:cNvSpPr/>
          <p:nvPr/>
        </p:nvSpPr>
        <p:spPr>
          <a:xfrm>
            <a:off x="4073852" y="3563496"/>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Diverse capabilities </a:t>
            </a:r>
          </a:p>
        </p:txBody>
      </p:sp>
      <p:sp>
        <p:nvSpPr>
          <p:cNvPr id="37" name="Rectangle 36">
            <a:extLst>
              <a:ext uri="{FF2B5EF4-FFF2-40B4-BE49-F238E27FC236}">
                <a16:creationId xmlns:a16="http://schemas.microsoft.com/office/drawing/2014/main" id="{0FF88499-5646-A146-AFA6-A90B3973334F}"/>
              </a:ext>
            </a:extLst>
          </p:cNvPr>
          <p:cNvSpPr/>
          <p:nvPr/>
        </p:nvSpPr>
        <p:spPr>
          <a:xfrm>
            <a:off x="5752258" y="3594274"/>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a:ea typeface="+mn-ea"/>
                <a:cs typeface="Segoe UI" panose="020B0502040204020203" pitchFamily="34" charset="0"/>
              </a:rPr>
              <a:t>Comprehensive discovery, assessment, and migration capabilities powered by Azure and third-party tools</a:t>
            </a:r>
          </a:p>
        </p:txBody>
      </p:sp>
      <p:grpSp>
        <p:nvGrpSpPr>
          <p:cNvPr id="50" name="Group 49">
            <a:extLst>
              <a:ext uri="{FF2B5EF4-FFF2-40B4-BE49-F238E27FC236}">
                <a16:creationId xmlns:a16="http://schemas.microsoft.com/office/drawing/2014/main" id="{3FA8EC70-29BE-4A40-AD87-AE3973ABCBD8}"/>
              </a:ext>
              <a:ext uri="{C183D7F6-B498-43B3-948B-1728B52AA6E4}">
                <adec:decorative xmlns:adec="http://schemas.microsoft.com/office/drawing/2017/decorative" xmlns="" val="1"/>
              </a:ext>
            </a:extLst>
          </p:cNvPr>
          <p:cNvGrpSpPr/>
          <p:nvPr/>
        </p:nvGrpSpPr>
        <p:grpSpPr>
          <a:xfrm>
            <a:off x="3675342" y="3732993"/>
            <a:ext cx="307338" cy="307336"/>
            <a:chOff x="3504672" y="2212396"/>
            <a:chExt cx="601768" cy="601764"/>
          </a:xfrm>
        </p:grpSpPr>
        <p:sp>
          <p:nvSpPr>
            <p:cNvPr id="51" name="Oval 50">
              <a:extLst>
                <a:ext uri="{FF2B5EF4-FFF2-40B4-BE49-F238E27FC236}">
                  <a16:creationId xmlns:a16="http://schemas.microsoft.com/office/drawing/2014/main" id="{A5F83DBF-F067-4639-9160-77938DA46492}"/>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2" name="Isosceles Triangle 51">
              <a:extLst>
                <a:ext uri="{FF2B5EF4-FFF2-40B4-BE49-F238E27FC236}">
                  <a16:creationId xmlns:a16="http://schemas.microsoft.com/office/drawing/2014/main" id="{E9DF368C-6398-40E8-B3D2-78658D2BC2B4}"/>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6" name="Straight Connector 45">
            <a:extLst>
              <a:ext uri="{FF2B5EF4-FFF2-40B4-BE49-F238E27FC236}">
                <a16:creationId xmlns:a16="http://schemas.microsoft.com/office/drawing/2014/main" id="{937CF193-D86F-4564-BC4D-109E95F846F3}"/>
              </a:ext>
              <a:ext uri="{C183D7F6-B498-43B3-948B-1728B52AA6E4}">
                <adec:decorative xmlns:adec="http://schemas.microsoft.com/office/drawing/2017/decorative" xmlns="" val="1"/>
              </a:ext>
            </a:extLst>
          </p:cNvPr>
          <p:cNvCxnSpPr>
            <a:cxnSpLocks/>
          </p:cNvCxnSpPr>
          <p:nvPr/>
        </p:nvCxnSpPr>
        <p:spPr>
          <a:xfrm>
            <a:off x="5618553" y="3704796"/>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49097BD-91BF-F444-860A-3AC21FD5BE44}"/>
              </a:ext>
            </a:extLst>
          </p:cNvPr>
          <p:cNvSpPr/>
          <p:nvPr/>
        </p:nvSpPr>
        <p:spPr>
          <a:xfrm>
            <a:off x="5752258" y="4740659"/>
            <a:ext cx="5886934" cy="584775"/>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600" b="0" i="0" u="none" strike="noStrike" kern="1200" cap="none" spc="0" normalizeH="0" baseline="0" noProof="0">
                <a:ln>
                  <a:solidFill>
                    <a:prstClr val="white"/>
                  </a:solidFill>
                </a:ln>
                <a:solidFill>
                  <a:prstClr val="white"/>
                </a:solidFill>
                <a:effectLst/>
                <a:uLnTx/>
                <a:uFillTx/>
                <a:latin typeface="Segoe UI" panose="020B0502040204020203" pitchFamily="34" charset="0"/>
                <a:ea typeface="+mn-ea"/>
                <a:cs typeface="Segoe UI" panose="020B0502040204020203" pitchFamily="34" charset="0"/>
              </a:rPr>
              <a:t>Centralized migration repository delivering end-to-end tracking and insights</a:t>
            </a:r>
          </a:p>
        </p:txBody>
      </p:sp>
      <p:sp>
        <p:nvSpPr>
          <p:cNvPr id="32" name="Rectangle 31">
            <a:extLst>
              <a:ext uri="{FF2B5EF4-FFF2-40B4-BE49-F238E27FC236}">
                <a16:creationId xmlns:a16="http://schemas.microsoft.com/office/drawing/2014/main" id="{DB461F21-3193-7146-A814-933E8F48FE8B}"/>
              </a:ext>
            </a:extLst>
          </p:cNvPr>
          <p:cNvSpPr/>
          <p:nvPr/>
        </p:nvSpPr>
        <p:spPr>
          <a:xfrm>
            <a:off x="4073852" y="4709881"/>
            <a:ext cx="1678406" cy="646331"/>
          </a:xfrm>
          <a:prstGeom prst="rect">
            <a:avLst/>
          </a:prstGeom>
        </p:spPr>
        <p:txBody>
          <a:bodyPr wrap="square" anchor="ctr">
            <a:spAutoFit/>
          </a:bodyPr>
          <a:lstStyle/>
          <a:p>
            <a:pPr marL="0" marR="0" lvl="0" indent="0" algn="l" defTabSz="913874" rtl="0" eaLnBrk="1" fontAlgn="auto" latinLnBrk="0" hangingPunct="1">
              <a:lnSpc>
                <a:spcPct val="100000"/>
              </a:lnSpc>
              <a:spcBef>
                <a:spcPts val="0"/>
              </a:spcBef>
              <a:spcAft>
                <a:spcPts val="588"/>
              </a:spcAft>
              <a:buClrTx/>
              <a:buSzPct val="90000"/>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Centralized visibility </a:t>
            </a:r>
          </a:p>
        </p:txBody>
      </p:sp>
      <p:grpSp>
        <p:nvGrpSpPr>
          <p:cNvPr id="53" name="Group 52">
            <a:extLst>
              <a:ext uri="{FF2B5EF4-FFF2-40B4-BE49-F238E27FC236}">
                <a16:creationId xmlns:a16="http://schemas.microsoft.com/office/drawing/2014/main" id="{E1F57022-6324-411B-84E8-C01F80D463EF}"/>
              </a:ext>
              <a:ext uri="{C183D7F6-B498-43B3-948B-1728B52AA6E4}">
                <adec:decorative xmlns:adec="http://schemas.microsoft.com/office/drawing/2017/decorative" xmlns="" val="1"/>
              </a:ext>
            </a:extLst>
          </p:cNvPr>
          <p:cNvGrpSpPr/>
          <p:nvPr/>
        </p:nvGrpSpPr>
        <p:grpSpPr>
          <a:xfrm>
            <a:off x="3675342" y="4879378"/>
            <a:ext cx="307338" cy="307336"/>
            <a:chOff x="3504672" y="2212396"/>
            <a:chExt cx="601768" cy="601764"/>
          </a:xfrm>
        </p:grpSpPr>
        <p:sp>
          <p:nvSpPr>
            <p:cNvPr id="54" name="Oval 53">
              <a:extLst>
                <a:ext uri="{FF2B5EF4-FFF2-40B4-BE49-F238E27FC236}">
                  <a16:creationId xmlns:a16="http://schemas.microsoft.com/office/drawing/2014/main" id="{3F996E7C-E894-4788-9665-CD2A1C6C611F}"/>
                </a:ext>
              </a:extLst>
            </p:cNvPr>
            <p:cNvSpPr/>
            <p:nvPr/>
          </p:nvSpPr>
          <p:spPr bwMode="auto">
            <a:xfrm>
              <a:off x="3504672" y="2212396"/>
              <a:ext cx="601768" cy="601764"/>
            </a:xfrm>
            <a:prstGeom prst="ellipse">
              <a:avLst/>
            </a:prstGeom>
            <a:solidFill>
              <a:schemeClr val="accent3"/>
            </a:solidFill>
            <a:ln w="19050" cap="flat" cmpd="sng" algn="ctr">
              <a:noFill/>
              <a:prstDash val="soli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solidFill>
                  <a:prstClr val="white"/>
                </a:solidFill>
                <a:effectLst/>
                <a:uLnTx/>
                <a:uFillTx/>
                <a:latin typeface="Segoe UI"/>
                <a:ea typeface="+mn-ea"/>
                <a:cs typeface="+mn-cs"/>
              </a:endParaRPr>
            </a:p>
          </p:txBody>
        </p:sp>
        <p:sp>
          <p:nvSpPr>
            <p:cNvPr id="55" name="Isosceles Triangle 54">
              <a:extLst>
                <a:ext uri="{FF2B5EF4-FFF2-40B4-BE49-F238E27FC236}">
                  <a16:creationId xmlns:a16="http://schemas.microsoft.com/office/drawing/2014/main" id="{60459D20-AE7B-40AC-9615-8822C48321E9}"/>
                </a:ext>
              </a:extLst>
            </p:cNvPr>
            <p:cNvSpPr/>
            <p:nvPr/>
          </p:nvSpPr>
          <p:spPr>
            <a:xfrm rot="5400000">
              <a:off x="3678934" y="2399237"/>
              <a:ext cx="325400" cy="22808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9" name="Straight Connector 48">
            <a:extLst>
              <a:ext uri="{FF2B5EF4-FFF2-40B4-BE49-F238E27FC236}">
                <a16:creationId xmlns:a16="http://schemas.microsoft.com/office/drawing/2014/main" id="{69EF778A-F7D5-4735-9AD0-7EE30A98A78B}"/>
              </a:ext>
              <a:ext uri="{C183D7F6-B498-43B3-948B-1728B52AA6E4}">
                <adec:decorative xmlns:adec="http://schemas.microsoft.com/office/drawing/2017/decorative" xmlns="" val="1"/>
              </a:ext>
            </a:extLst>
          </p:cNvPr>
          <p:cNvCxnSpPr>
            <a:cxnSpLocks/>
          </p:cNvCxnSpPr>
          <p:nvPr/>
        </p:nvCxnSpPr>
        <p:spPr>
          <a:xfrm>
            <a:off x="5618553" y="4851181"/>
            <a:ext cx="0" cy="36373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755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5" name="Rectangle 24" descr="Table of categories that influenced your score">
            <a:extLst>
              <a:ext uri="{FF2B5EF4-FFF2-40B4-BE49-F238E27FC236}">
                <a16:creationId xmlns:a16="http://schemas.microsoft.com/office/drawing/2014/main" id="{30BD0EE1-E889-42F9-8AB9-2AE7FDEF19D6}"/>
              </a:ext>
            </a:extLst>
          </p:cNvPr>
          <p:cNvSpPr/>
          <p:nvPr/>
        </p:nvSpPr>
        <p:spPr>
          <a:xfrm>
            <a:off x="6412811" y="1750809"/>
            <a:ext cx="4334256"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43602A7E-E4D3-4A0E-904E-58EE90C661EE}"/>
              </a:ext>
              <a:ext uri="{C183D7F6-B498-43B3-948B-1728B52AA6E4}">
                <adec:decorative xmlns:adec="http://schemas.microsoft.com/office/drawing/2017/decorative" xmlns="" val="1"/>
              </a:ext>
            </a:extLst>
          </p:cNvPr>
          <p:cNvPicPr>
            <a:picLocks noChangeAspect="1"/>
          </p:cNvPicPr>
          <p:nvPr/>
        </p:nvPicPr>
        <p:blipFill rotWithShape="1">
          <a:blip r:embed="rId4"/>
          <a:srcRect l="56673"/>
          <a:stretch/>
        </p:blipFill>
        <p:spPr>
          <a:xfrm>
            <a:off x="6505767" y="1841216"/>
            <a:ext cx="4152483" cy="3879630"/>
          </a:xfrm>
          <a:prstGeom prst="rect">
            <a:avLst/>
          </a:prstGeom>
        </p:spPr>
      </p:pic>
      <p:sp>
        <p:nvSpPr>
          <p:cNvPr id="18" name="TextBox 17">
            <a:extLst>
              <a:ext uri="{FF2B5EF4-FFF2-40B4-BE49-F238E27FC236}">
                <a16:creationId xmlns:a16="http://schemas.microsoft.com/office/drawing/2014/main" id="{80014F1F-6247-4DCD-98A1-C59EE8334BA1}"/>
              </a:ext>
            </a:extLst>
          </p:cNvPr>
          <p:cNvSpPr txBox="1"/>
          <p:nvPr/>
        </p:nvSpPr>
        <p:spPr>
          <a:xfrm>
            <a:off x="2906486" y="6062442"/>
            <a:ext cx="6379028" cy="630942"/>
          </a:xfrm>
          <a:prstGeom prst="rect">
            <a:avLst/>
          </a:prstGeom>
          <a:noFill/>
        </p:spPr>
        <p:txBody>
          <a:bodyPr wrap="square" lIns="0" tIns="0" rIns="0" bIns="0" rtlCol="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Strategic Migration Assessment &amp; Readiness Tool (SMART)</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aka.ms/</a:t>
            </a:r>
            <a:r>
              <a:rPr kumimoji="0" lang="en-US" sz="1800" b="0" i="0" u="none" strike="noStrike" kern="1200" cap="none" spc="0" normalizeH="0" baseline="0" noProof="0" err="1">
                <a:ln>
                  <a:noFill/>
                </a:ln>
                <a:solidFill>
                  <a:srgbClr val="50E6FF"/>
                </a:solidFill>
                <a:effectLst/>
                <a:uLnTx/>
                <a:uFillTx/>
                <a:latin typeface="Segoe UI Semibold"/>
                <a:ea typeface="+mn-ea"/>
                <a:cs typeface="+mn-cs"/>
              </a:rPr>
              <a:t>smarttool</a:t>
            </a:r>
            <a:endParaRPr kumimoji="0" lang="en-US" sz="18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E480ACCF-E52A-45F6-A709-B6B7E58C16E4}"/>
              </a:ext>
            </a:extLst>
          </p:cNvPr>
          <p:cNvSpPr>
            <a:spLocks noGrp="1"/>
          </p:cNvSpPr>
          <p:nvPr>
            <p:ph type="title"/>
          </p:nvPr>
        </p:nvSpPr>
        <p:spPr>
          <a:xfrm>
            <a:off x="513347" y="453745"/>
            <a:ext cx="11616826" cy="1020602"/>
          </a:xfrm>
        </p:spPr>
        <p:txBody>
          <a:bodyPr/>
          <a:lstStyle/>
          <a:p>
            <a:r>
              <a:rPr lang="en-US">
                <a:solidFill>
                  <a:schemeClr val="accent3"/>
                </a:solidFill>
              </a:rPr>
              <a:t>Assessing migration readiness is a good place to start </a:t>
            </a:r>
          </a:p>
        </p:txBody>
      </p:sp>
      <p:sp>
        <p:nvSpPr>
          <p:cNvPr id="12" name="Rectangle 11" descr="Table showing your overall score">
            <a:extLst>
              <a:ext uri="{FF2B5EF4-FFF2-40B4-BE49-F238E27FC236}">
                <a16:creationId xmlns:a16="http://schemas.microsoft.com/office/drawing/2014/main" id="{AE8820B6-3C4B-4AB5-A6D3-E4186C6B6436}"/>
              </a:ext>
            </a:extLst>
          </p:cNvPr>
          <p:cNvSpPr/>
          <p:nvPr/>
        </p:nvSpPr>
        <p:spPr>
          <a:xfrm>
            <a:off x="1280248" y="1750809"/>
            <a:ext cx="5009127" cy="4059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L-Shape 19">
            <a:extLst>
              <a:ext uri="{FF2B5EF4-FFF2-40B4-BE49-F238E27FC236}">
                <a16:creationId xmlns:a16="http://schemas.microsoft.com/office/drawing/2014/main" id="{FE88CFFE-1293-4B21-97A9-C00A51BB2964}"/>
              </a:ext>
              <a:ext uri="{C183D7F6-B498-43B3-948B-1728B52AA6E4}">
                <adec:decorative xmlns:adec="http://schemas.microsoft.com/office/drawing/2017/decorative" xmlns="" val="1"/>
              </a:ext>
            </a:extLst>
          </p:cNvPr>
          <p:cNvSpPr/>
          <p:nvPr/>
        </p:nvSpPr>
        <p:spPr>
          <a:xfrm flipV="1">
            <a:off x="1249768"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L-Shape 20">
            <a:extLst>
              <a:ext uri="{FF2B5EF4-FFF2-40B4-BE49-F238E27FC236}">
                <a16:creationId xmlns:a16="http://schemas.microsoft.com/office/drawing/2014/main" id="{9B1D0DFA-A647-4BB9-A996-D7A611854948}"/>
              </a:ext>
              <a:ext uri="{C183D7F6-B498-43B3-948B-1728B52AA6E4}">
                <adec:decorative xmlns:adec="http://schemas.microsoft.com/office/drawing/2017/decorative" xmlns="" val="1"/>
              </a:ext>
            </a:extLst>
          </p:cNvPr>
          <p:cNvSpPr/>
          <p:nvPr/>
        </p:nvSpPr>
        <p:spPr>
          <a:xfrm flipH="1">
            <a:off x="606871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L-Shape 26">
            <a:extLst>
              <a:ext uri="{FF2B5EF4-FFF2-40B4-BE49-F238E27FC236}">
                <a16:creationId xmlns:a16="http://schemas.microsoft.com/office/drawing/2014/main" id="{C0B72DF8-FA77-44A6-87F5-E4DFA143E096}"/>
              </a:ext>
              <a:ext uri="{C183D7F6-B498-43B3-948B-1728B52AA6E4}">
                <adec:decorative xmlns:adec="http://schemas.microsoft.com/office/drawing/2017/decorative" xmlns="" val="1"/>
              </a:ext>
            </a:extLst>
          </p:cNvPr>
          <p:cNvSpPr/>
          <p:nvPr/>
        </p:nvSpPr>
        <p:spPr>
          <a:xfrm flipV="1">
            <a:off x="6382331" y="1726044"/>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L-Shape 27">
            <a:extLst>
              <a:ext uri="{FF2B5EF4-FFF2-40B4-BE49-F238E27FC236}">
                <a16:creationId xmlns:a16="http://schemas.microsoft.com/office/drawing/2014/main" id="{9BDE97D3-C121-4EFC-A61F-38F6835D8195}"/>
              </a:ext>
              <a:ext uri="{C183D7F6-B498-43B3-948B-1728B52AA6E4}">
                <adec:decorative xmlns:adec="http://schemas.microsoft.com/office/drawing/2017/decorative" xmlns="" val="1"/>
              </a:ext>
            </a:extLst>
          </p:cNvPr>
          <p:cNvSpPr/>
          <p:nvPr/>
        </p:nvSpPr>
        <p:spPr>
          <a:xfrm flipH="1">
            <a:off x="10507593" y="5602648"/>
            <a:ext cx="253047" cy="253047"/>
          </a:xfrm>
          <a:prstGeom prst="corner">
            <a:avLst>
              <a:gd name="adj1" fmla="val 23361"/>
              <a:gd name="adj2" fmla="val 2451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30BADE64-8405-446E-927E-5A9F87E475D9}"/>
              </a:ext>
              <a:ext uri="{C183D7F6-B498-43B3-948B-1728B52AA6E4}">
                <adec:decorative xmlns:adec="http://schemas.microsoft.com/office/drawing/2017/decorative" xmlns="" val="1"/>
              </a:ext>
            </a:extLst>
          </p:cNvPr>
          <p:cNvPicPr>
            <a:picLocks noChangeAspect="1"/>
          </p:cNvPicPr>
          <p:nvPr/>
        </p:nvPicPr>
        <p:blipFill rotWithShape="1">
          <a:blip r:embed="rId4"/>
          <a:srcRect r="49698"/>
          <a:stretch/>
        </p:blipFill>
        <p:spPr>
          <a:xfrm>
            <a:off x="1373204" y="1841215"/>
            <a:ext cx="4820931" cy="3879630"/>
          </a:xfrm>
          <a:prstGeom prst="rect">
            <a:avLst/>
          </a:prstGeom>
        </p:spPr>
      </p:pic>
    </p:spTree>
    <p:extLst>
      <p:ext uri="{BB962C8B-B14F-4D97-AF65-F5344CB8AC3E}">
        <p14:creationId xmlns:p14="http://schemas.microsoft.com/office/powerpoint/2010/main" val="3790949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5C13DE-1452-4D92-B4C9-A8FC3E924F5C}"/>
              </a:ext>
            </a:extLst>
          </p:cNvPr>
          <p:cNvSpPr>
            <a:spLocks noGrp="1"/>
          </p:cNvSpPr>
          <p:nvPr>
            <p:ph type="title"/>
          </p:nvPr>
        </p:nvSpPr>
        <p:spPr/>
        <p:txBody>
          <a:bodyPr/>
          <a:lstStyle/>
          <a:p>
            <a:r>
              <a:rPr lang="en-IN">
                <a:solidFill>
                  <a:schemeClr val="accent3"/>
                </a:solidFill>
              </a:rPr>
              <a:t>Next steps </a:t>
            </a:r>
          </a:p>
        </p:txBody>
      </p:sp>
      <p:sp>
        <p:nvSpPr>
          <p:cNvPr id="9" name="Rectangle 8">
            <a:extLst>
              <a:ext uri="{FF2B5EF4-FFF2-40B4-BE49-F238E27FC236}">
                <a16:creationId xmlns:a16="http://schemas.microsoft.com/office/drawing/2014/main" id="{BCA48C13-E42B-46FB-85EF-ABA14270B9E8}"/>
              </a:ext>
            </a:extLst>
          </p:cNvPr>
          <p:cNvSpPr/>
          <p:nvPr/>
        </p:nvSpPr>
        <p:spPr>
          <a:xfrm>
            <a:off x="57405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Learn more and find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migration</a:t>
            </a:r>
          </a:p>
        </p:txBody>
      </p:sp>
      <p:sp>
        <p:nvSpPr>
          <p:cNvPr id="10" name="Rectangle 9">
            <a:extLst>
              <a:ext uri="{FF2B5EF4-FFF2-40B4-BE49-F238E27FC236}">
                <a16:creationId xmlns:a16="http://schemas.microsoft.com/office/drawing/2014/main" id="{07A2ED04-1BE2-4D56-BBDD-4C9C7CB3ACE2}"/>
              </a:ext>
            </a:extLst>
          </p:cNvPr>
          <p:cNvSpPr/>
          <p:nvPr/>
        </p:nvSpPr>
        <p:spPr>
          <a:xfrm>
            <a:off x="337143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Sign up for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 Azure.com/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zure.com/</a:t>
            </a:r>
            <a:r>
              <a:rPr kumimoji="0" lang="en-US" sz="1800" b="1" i="0" u="none" strike="noStrike" kern="1200" cap="none" spc="0" normalizeH="0" baseline="0" noProof="0" err="1">
                <a:ln>
                  <a:noFill/>
                </a:ln>
                <a:solidFill>
                  <a:srgbClr val="50E6FF"/>
                </a:solidFill>
                <a:effectLst/>
                <a:uLnTx/>
                <a:uFillTx/>
                <a:latin typeface="Segoe UI"/>
                <a:ea typeface="+mn-ea"/>
                <a:cs typeface="+mn-cs"/>
              </a:rPr>
              <a:t>fasttrack</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8B62B40E-BBA3-47B7-AEAD-2E6FEB39712A}"/>
              </a:ext>
            </a:extLst>
          </p:cNvPr>
          <p:cNvSpPr/>
          <p:nvPr/>
        </p:nvSpPr>
        <p:spPr>
          <a:xfrm>
            <a:off x="616881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Understand Azure migration read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smarttool</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A4DD791-8F27-4BE2-80FF-08B279687F30}"/>
              </a:ext>
            </a:extLst>
          </p:cNvPr>
          <p:cNvSpPr/>
          <p:nvPr/>
        </p:nvSpPr>
        <p:spPr>
          <a:xfrm>
            <a:off x="8966190" y="4105016"/>
            <a:ext cx="2651760" cy="923330"/>
          </a:xfrm>
          <a:prstGeom prst="rect">
            <a:avLst/>
          </a:prstGeom>
          <a:noFill/>
          <a:ln w="4248" cap="flat">
            <a:noFill/>
            <a:prstDash val="solid"/>
            <a:miter/>
          </a:ln>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Assess and move your workloa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E6FF"/>
                </a:solidFill>
                <a:effectLst/>
                <a:uLnTx/>
                <a:uFillTx/>
                <a:latin typeface="Segoe UI"/>
                <a:ea typeface="+mn-ea"/>
                <a:cs typeface="+mn-cs"/>
              </a:rPr>
              <a:t>aka.ms/</a:t>
            </a:r>
            <a:r>
              <a:rPr kumimoji="0" lang="en-US" sz="1800" b="1" i="0" u="none" strike="noStrike" kern="1200" cap="none" spc="0" normalizeH="0" baseline="0" noProof="0" err="1">
                <a:ln>
                  <a:noFill/>
                </a:ln>
                <a:solidFill>
                  <a:srgbClr val="50E6FF"/>
                </a:solidFill>
                <a:effectLst/>
                <a:uLnTx/>
                <a:uFillTx/>
                <a:latin typeface="Segoe UI"/>
                <a:ea typeface="+mn-ea"/>
                <a:cs typeface="+mn-cs"/>
              </a:rPr>
              <a:t>azuremigrate</a:t>
            </a:r>
            <a:endParaRPr kumimoji="0" lang="en-US" sz="1800" b="1" i="0" u="none" strike="noStrike" kern="1200" cap="none" spc="0" normalizeH="0" baseline="0" noProof="0">
              <a:ln>
                <a:noFill/>
              </a:ln>
              <a:solidFill>
                <a:srgbClr val="50E6FF"/>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C2170FA0-1D53-44C5-8701-104EFDD52A06}"/>
              </a:ext>
              <a:ext uri="{C183D7F6-B498-43B3-948B-1728B52AA6E4}">
                <adec:decorative xmlns:adec="http://schemas.microsoft.com/office/drawing/2017/decorative" xmlns="" val="1"/>
              </a:ext>
            </a:extLst>
          </p:cNvPr>
          <p:cNvCxnSpPr>
            <a:cxnSpLocks/>
          </p:cNvCxnSpPr>
          <p:nvPr/>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2E6338B9-F8DA-47F1-B2DB-EF701F750D26}"/>
              </a:ext>
              <a:ext uri="{C183D7F6-B498-43B3-948B-1728B52AA6E4}">
                <adec:decorative xmlns:adec="http://schemas.microsoft.com/office/drawing/2017/decorative" xmlns="" val="1"/>
              </a:ext>
            </a:extLst>
          </p:cNvPr>
          <p:cNvSpPr/>
          <p:nvPr/>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7EBB6EB1-5DF1-4343-8C38-64E0D4900E30}"/>
              </a:ext>
              <a:ext uri="{C183D7F6-B498-43B3-948B-1728B52AA6E4}">
                <adec:decorative xmlns:adec="http://schemas.microsoft.com/office/drawing/2017/decorative" xmlns="" val="1"/>
              </a:ext>
            </a:extLst>
          </p:cNvPr>
          <p:cNvPicPr>
            <a:picLocks noChangeAspect="1"/>
          </p:cNvPicPr>
          <p:nvPr/>
        </p:nvPicPr>
        <p:blipFill>
          <a:blip r:embed="rId2"/>
          <a:stretch>
            <a:fillRect/>
          </a:stretch>
        </p:blipFill>
        <p:spPr>
          <a:xfrm>
            <a:off x="1478507" y="2879835"/>
            <a:ext cx="845820" cy="373380"/>
          </a:xfrm>
          <a:prstGeom prst="rect">
            <a:avLst/>
          </a:prstGeom>
        </p:spPr>
      </p:pic>
      <p:sp>
        <p:nvSpPr>
          <p:cNvPr id="14" name="Freeform: Shape 13">
            <a:extLst>
              <a:ext uri="{FF2B5EF4-FFF2-40B4-BE49-F238E27FC236}">
                <a16:creationId xmlns:a16="http://schemas.microsoft.com/office/drawing/2014/main" id="{835D17FE-DF26-4E00-8711-D798B9924E6F}"/>
              </a:ext>
              <a:ext uri="{C183D7F6-B498-43B3-948B-1728B52AA6E4}">
                <adec:decorative xmlns:adec="http://schemas.microsoft.com/office/drawing/2017/decorative" xmlns="" val="1"/>
              </a:ext>
            </a:extLst>
          </p:cNvPr>
          <p:cNvSpPr/>
          <p:nvPr/>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B0257284-E45F-4179-9F64-D473F766DD03}"/>
              </a:ext>
              <a:ext uri="{C183D7F6-B498-43B3-948B-1728B52AA6E4}">
                <adec:decorative xmlns:adec="http://schemas.microsoft.com/office/drawing/2017/decorative" xmlns="" val="1"/>
              </a:ext>
            </a:extLst>
          </p:cNvPr>
          <p:cNvSpPr/>
          <p:nvPr/>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9167FD4C-35EB-43A2-A7B8-C8B37D50E0EE}"/>
              </a:ext>
              <a:ext uri="{C183D7F6-B498-43B3-948B-1728B52AA6E4}">
                <adec:decorative xmlns:adec="http://schemas.microsoft.com/office/drawing/2017/decorative" xmlns="" val="1"/>
              </a:ext>
            </a:extLst>
          </p:cNvPr>
          <p:cNvPicPr>
            <a:picLocks noChangeAspect="1"/>
          </p:cNvPicPr>
          <p:nvPr/>
        </p:nvPicPr>
        <p:blipFill>
          <a:blip r:embed="rId3"/>
          <a:stretch>
            <a:fillRect/>
          </a:stretch>
        </p:blipFill>
        <p:spPr>
          <a:xfrm>
            <a:off x="4358220" y="2727235"/>
            <a:ext cx="678180" cy="678180"/>
          </a:xfrm>
          <a:prstGeom prst="rect">
            <a:avLst/>
          </a:prstGeom>
        </p:spPr>
      </p:pic>
      <p:sp>
        <p:nvSpPr>
          <p:cNvPr id="18" name="Freeform: Shape 17">
            <a:extLst>
              <a:ext uri="{FF2B5EF4-FFF2-40B4-BE49-F238E27FC236}">
                <a16:creationId xmlns:a16="http://schemas.microsoft.com/office/drawing/2014/main" id="{5A651C2A-0610-4F9B-8546-0B2A0D6319E8}"/>
              </a:ext>
              <a:ext uri="{C183D7F6-B498-43B3-948B-1728B52AA6E4}">
                <adec:decorative xmlns:adec="http://schemas.microsoft.com/office/drawing/2017/decorative" xmlns="" val="1"/>
              </a:ext>
            </a:extLst>
          </p:cNvPr>
          <p:cNvSpPr/>
          <p:nvPr/>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1568FA09-8792-44A4-ACED-E134A19CC8B5}"/>
              </a:ext>
              <a:ext uri="{C183D7F6-B498-43B3-948B-1728B52AA6E4}">
                <adec:decorative xmlns:adec="http://schemas.microsoft.com/office/drawing/2017/decorative" xmlns="" val="1"/>
              </a:ext>
            </a:extLst>
          </p:cNvPr>
          <p:cNvSpPr/>
          <p:nvPr/>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B78B23AB-A811-4A0E-B103-C0524646DCD8}"/>
              </a:ext>
              <a:ext uri="{C183D7F6-B498-43B3-948B-1728B52AA6E4}">
                <adec:decorative xmlns:adec="http://schemas.microsoft.com/office/drawing/2017/decorative" xmlns="" val="1"/>
              </a:ext>
            </a:extLst>
          </p:cNvPr>
          <p:cNvPicPr>
            <a:picLocks noChangeAspect="1"/>
          </p:cNvPicPr>
          <p:nvPr/>
        </p:nvPicPr>
        <p:blipFill>
          <a:blip r:embed="rId4"/>
          <a:stretch>
            <a:fillRect/>
          </a:stretch>
        </p:blipFill>
        <p:spPr>
          <a:xfrm>
            <a:off x="7243230" y="2757715"/>
            <a:ext cx="502920" cy="617220"/>
          </a:xfrm>
          <a:prstGeom prst="rect">
            <a:avLst/>
          </a:prstGeom>
        </p:spPr>
      </p:pic>
      <p:sp>
        <p:nvSpPr>
          <p:cNvPr id="21" name="Freeform: Shape 20">
            <a:extLst>
              <a:ext uri="{FF2B5EF4-FFF2-40B4-BE49-F238E27FC236}">
                <a16:creationId xmlns:a16="http://schemas.microsoft.com/office/drawing/2014/main" id="{61F4F7BC-A25E-4DC8-8D36-BE3C5826418D}"/>
              </a:ext>
              <a:ext uri="{C183D7F6-B498-43B3-948B-1728B52AA6E4}">
                <adec:decorative xmlns:adec="http://schemas.microsoft.com/office/drawing/2017/decorative" xmlns="" val="1"/>
              </a:ext>
            </a:extLst>
          </p:cNvPr>
          <p:cNvSpPr/>
          <p:nvPr/>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F05BF67-5738-424D-A8F5-4CB1A46A2684}"/>
              </a:ext>
              <a:ext uri="{C183D7F6-B498-43B3-948B-1728B52AA6E4}">
                <adec:decorative xmlns:adec="http://schemas.microsoft.com/office/drawing/2017/decorative" xmlns="" val="1"/>
              </a:ext>
            </a:extLst>
          </p:cNvPr>
          <p:cNvSpPr/>
          <p:nvPr/>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BEA25494-9BC7-4BE2-919F-67C44B86386A}"/>
              </a:ext>
              <a:ext uri="{C183D7F6-B498-43B3-948B-1728B52AA6E4}">
                <adec:decorative xmlns:adec="http://schemas.microsoft.com/office/drawing/2017/decorative" xmlns="" val="1"/>
              </a:ext>
            </a:extLst>
          </p:cNvPr>
          <p:cNvPicPr>
            <a:picLocks noChangeAspect="1"/>
          </p:cNvPicPr>
          <p:nvPr/>
        </p:nvPicPr>
        <p:blipFill>
          <a:blip r:embed="rId5"/>
          <a:stretch>
            <a:fillRect/>
          </a:stretch>
        </p:blipFill>
        <p:spPr>
          <a:xfrm>
            <a:off x="9937740" y="2711995"/>
            <a:ext cx="708660" cy="708660"/>
          </a:xfrm>
          <a:prstGeom prst="rect">
            <a:avLst/>
          </a:prstGeom>
        </p:spPr>
      </p:pic>
    </p:spTree>
    <p:extLst>
      <p:ext uri="{BB962C8B-B14F-4D97-AF65-F5344CB8AC3E}">
        <p14:creationId xmlns:p14="http://schemas.microsoft.com/office/powerpoint/2010/main" val="230163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209" name="Graphic 208" descr="Image of the world map">
            <a:extLst>
              <a:ext uri="{FF2B5EF4-FFF2-40B4-BE49-F238E27FC236}">
                <a16:creationId xmlns:a16="http://schemas.microsoft.com/office/drawing/2014/main" id="{B5B83CDC-BFB5-4A15-A9A8-773F6F541E1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052512" y="1144343"/>
            <a:ext cx="10086976" cy="4569314"/>
          </a:xfrm>
          <a:prstGeom prst="rect">
            <a:avLst/>
          </a:prstGeom>
        </p:spPr>
      </p:pic>
      <p:sp>
        <p:nvSpPr>
          <p:cNvPr id="2" name="Title 1">
            <a:extLst>
              <a:ext uri="{FF2B5EF4-FFF2-40B4-BE49-F238E27FC236}">
                <a16:creationId xmlns:a16="http://schemas.microsoft.com/office/drawing/2014/main" id="{A752C04F-7F8C-4A9A-A1E8-AC4529907A3B}"/>
              </a:ext>
            </a:extLst>
          </p:cNvPr>
          <p:cNvSpPr>
            <a:spLocks noGrp="1"/>
          </p:cNvSpPr>
          <p:nvPr>
            <p:ph type="title"/>
          </p:nvPr>
        </p:nvSpPr>
        <p:spPr>
          <a:xfrm>
            <a:off x="435987" y="416725"/>
            <a:ext cx="11018520" cy="553998"/>
          </a:xfrm>
        </p:spPr>
        <p:txBody>
          <a:bodyPr/>
          <a:lstStyle/>
          <a:p>
            <a:pPr algn="l"/>
            <a:r>
              <a:rPr lang="en-US" dirty="0">
                <a:solidFill>
                  <a:schemeClr val="accent2"/>
                </a:solidFill>
              </a:rPr>
              <a:t>More regions than any other cloud provider</a:t>
            </a:r>
          </a:p>
        </p:txBody>
      </p:sp>
      <p:grpSp>
        <p:nvGrpSpPr>
          <p:cNvPr id="20" name="Group 19" descr="60 Regions Worldwide">
            <a:extLst>
              <a:ext uri="{FF2B5EF4-FFF2-40B4-BE49-F238E27FC236}">
                <a16:creationId xmlns:a16="http://schemas.microsoft.com/office/drawing/2014/main" id="{CED1ED45-BC76-40CA-822F-90EE51B15E49}"/>
              </a:ext>
            </a:extLst>
          </p:cNvPr>
          <p:cNvGrpSpPr/>
          <p:nvPr/>
        </p:nvGrpSpPr>
        <p:grpSpPr>
          <a:xfrm>
            <a:off x="197002" y="5780484"/>
            <a:ext cx="2052847" cy="615553"/>
            <a:chOff x="1198142" y="5737423"/>
            <a:chExt cx="2035595" cy="615553"/>
          </a:xfrm>
        </p:grpSpPr>
        <p:sp>
          <p:nvSpPr>
            <p:cNvPr id="9" name="TextBox 8">
              <a:extLst>
                <a:ext uri="{FF2B5EF4-FFF2-40B4-BE49-F238E27FC236}">
                  <a16:creationId xmlns:a16="http://schemas.microsoft.com/office/drawing/2014/main" id="{C944BB8F-FFCD-4FF3-9BA2-0ECCE14BFF34}"/>
                </a:ext>
              </a:extLst>
            </p:cNvPr>
            <p:cNvSpPr txBox="1"/>
            <p:nvPr/>
          </p:nvSpPr>
          <p:spPr>
            <a:xfrm>
              <a:off x="1198142" y="5737423"/>
              <a:ext cx="920339"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60+</a:t>
              </a:r>
            </a:p>
          </p:txBody>
        </p:sp>
        <p:sp>
          <p:nvSpPr>
            <p:cNvPr id="10" name="TextBox 9">
              <a:extLst>
                <a:ext uri="{FF2B5EF4-FFF2-40B4-BE49-F238E27FC236}">
                  <a16:creationId xmlns:a16="http://schemas.microsoft.com/office/drawing/2014/main" id="{E5156CB6-8563-4757-997A-51083BF7FD4C}"/>
                </a:ext>
              </a:extLst>
            </p:cNvPr>
            <p:cNvSpPr txBox="1"/>
            <p:nvPr/>
          </p:nvSpPr>
          <p:spPr>
            <a:xfrm>
              <a:off x="2262187" y="5798978"/>
              <a:ext cx="97155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mn-cs"/>
                </a:rPr>
                <a:t>Regions worldwide</a:t>
              </a:r>
            </a:p>
          </p:txBody>
        </p:sp>
      </p:grpSp>
      <p:grpSp>
        <p:nvGrpSpPr>
          <p:cNvPr id="21" name="Group 20" descr="130k miles of fiber and subsea cable">
            <a:extLst>
              <a:ext uri="{FF2B5EF4-FFF2-40B4-BE49-F238E27FC236}">
                <a16:creationId xmlns:a16="http://schemas.microsoft.com/office/drawing/2014/main" id="{8B4B4A6B-2A0C-4EC2-909A-D6F50AB16DF0}"/>
              </a:ext>
            </a:extLst>
          </p:cNvPr>
          <p:cNvGrpSpPr/>
          <p:nvPr/>
        </p:nvGrpSpPr>
        <p:grpSpPr>
          <a:xfrm>
            <a:off x="3044316" y="5780484"/>
            <a:ext cx="2900931" cy="615553"/>
            <a:chOff x="4090418" y="5737423"/>
            <a:chExt cx="2900931" cy="615553"/>
          </a:xfrm>
        </p:grpSpPr>
        <p:sp>
          <p:nvSpPr>
            <p:cNvPr id="14" name="TextBox 13">
              <a:extLst>
                <a:ext uri="{FF2B5EF4-FFF2-40B4-BE49-F238E27FC236}">
                  <a16:creationId xmlns:a16="http://schemas.microsoft.com/office/drawing/2014/main" id="{01B2A569-9560-46EA-B2EF-F9BCC528A1F3}"/>
                </a:ext>
              </a:extLst>
            </p:cNvPr>
            <p:cNvSpPr txBox="1"/>
            <p:nvPr/>
          </p:nvSpPr>
          <p:spPr>
            <a:xfrm>
              <a:off x="4090418" y="5737423"/>
              <a:ext cx="1178207"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13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K+</a:t>
              </a:r>
            </a:p>
          </p:txBody>
        </p:sp>
        <p:sp>
          <p:nvSpPr>
            <p:cNvPr id="15" name="TextBox 14">
              <a:extLst>
                <a:ext uri="{FF2B5EF4-FFF2-40B4-BE49-F238E27FC236}">
                  <a16:creationId xmlns:a16="http://schemas.microsoft.com/office/drawing/2014/main" id="{D591BC12-6A50-47AD-BD7D-81E448A79C46}"/>
                </a:ext>
              </a:extLst>
            </p:cNvPr>
            <p:cNvSpPr txBox="1"/>
            <p:nvPr/>
          </p:nvSpPr>
          <p:spPr>
            <a:xfrm>
              <a:off x="5412330" y="5798978"/>
              <a:ext cx="157901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Miles of fiber and subsea cable</a:t>
              </a:r>
            </a:p>
          </p:txBody>
        </p:sp>
      </p:grpSp>
      <p:grpSp>
        <p:nvGrpSpPr>
          <p:cNvPr id="22" name="Group 21" descr="160+ Edge sites">
            <a:extLst>
              <a:ext uri="{FF2B5EF4-FFF2-40B4-BE49-F238E27FC236}">
                <a16:creationId xmlns:a16="http://schemas.microsoft.com/office/drawing/2014/main" id="{9F41DB8A-7D1E-4F92-AF6B-CC2D062BBF04}"/>
              </a:ext>
            </a:extLst>
          </p:cNvPr>
          <p:cNvGrpSpPr/>
          <p:nvPr/>
        </p:nvGrpSpPr>
        <p:grpSpPr>
          <a:xfrm>
            <a:off x="6739714" y="5780484"/>
            <a:ext cx="1630037" cy="615553"/>
            <a:chOff x="6894838" y="5737423"/>
            <a:chExt cx="1630037" cy="615553"/>
          </a:xfrm>
        </p:grpSpPr>
        <p:sp>
          <p:nvSpPr>
            <p:cNvPr id="16" name="TextBox 15">
              <a:extLst>
                <a:ext uri="{FF2B5EF4-FFF2-40B4-BE49-F238E27FC236}">
                  <a16:creationId xmlns:a16="http://schemas.microsoft.com/office/drawing/2014/main" id="{BD0ADDAA-FE8A-4CB6-B451-8042152A3AC9}"/>
                </a:ext>
              </a:extLst>
            </p:cNvPr>
            <p:cNvSpPr txBox="1"/>
            <p:nvPr/>
          </p:nvSpPr>
          <p:spPr>
            <a:xfrm>
              <a:off x="6894838" y="5737423"/>
              <a:ext cx="992259"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16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a:t>
              </a:r>
            </a:p>
          </p:txBody>
        </p:sp>
        <p:sp>
          <p:nvSpPr>
            <p:cNvPr id="17" name="TextBox 16">
              <a:extLst>
                <a:ext uri="{FF2B5EF4-FFF2-40B4-BE49-F238E27FC236}">
                  <a16:creationId xmlns:a16="http://schemas.microsoft.com/office/drawing/2014/main" id="{A91FB960-6089-463A-BA59-2CC7BA8C824A}"/>
                </a:ext>
              </a:extLst>
            </p:cNvPr>
            <p:cNvSpPr txBox="1"/>
            <p:nvPr/>
          </p:nvSpPr>
          <p:spPr>
            <a:xfrm>
              <a:off x="8030803" y="5798978"/>
              <a:ext cx="494072"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Edg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sites</a:t>
              </a:r>
            </a:p>
          </p:txBody>
        </p:sp>
      </p:grpSp>
      <p:grpSp>
        <p:nvGrpSpPr>
          <p:cNvPr id="23" name="Group 22" descr="200+ Expre3ssRoute partners">
            <a:extLst>
              <a:ext uri="{FF2B5EF4-FFF2-40B4-BE49-F238E27FC236}">
                <a16:creationId xmlns:a16="http://schemas.microsoft.com/office/drawing/2014/main" id="{09E616F6-0607-4DAB-A750-0362F73215FD}"/>
              </a:ext>
            </a:extLst>
          </p:cNvPr>
          <p:cNvGrpSpPr/>
          <p:nvPr/>
        </p:nvGrpSpPr>
        <p:grpSpPr>
          <a:xfrm>
            <a:off x="9164219" y="5780484"/>
            <a:ext cx="2445169" cy="615553"/>
            <a:chOff x="9370594" y="5737423"/>
            <a:chExt cx="2445169" cy="615553"/>
          </a:xfrm>
        </p:grpSpPr>
        <p:sp>
          <p:nvSpPr>
            <p:cNvPr id="18" name="TextBox 17">
              <a:extLst>
                <a:ext uri="{FF2B5EF4-FFF2-40B4-BE49-F238E27FC236}">
                  <a16:creationId xmlns:a16="http://schemas.microsoft.com/office/drawing/2014/main" id="{8B29B332-A7BB-4547-B641-A73643CB6902}"/>
                </a:ext>
              </a:extLst>
            </p:cNvPr>
            <p:cNvSpPr txBox="1"/>
            <p:nvPr/>
          </p:nvSpPr>
          <p:spPr>
            <a:xfrm>
              <a:off x="9370594" y="5737423"/>
              <a:ext cx="1069203" cy="615553"/>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200</a:t>
              </a:r>
              <a:r>
                <a:rPr kumimoji="0" lang="en-US" sz="2400" b="0" i="0" u="none" strike="noStrike" kern="1200" cap="none" spc="0" normalizeH="0" baseline="0" noProof="0">
                  <a:ln>
                    <a:noFill/>
                  </a:ln>
                  <a:gradFill flip="none" rotWithShape="1">
                    <a:gsLst>
                      <a:gs pos="95000">
                        <a:srgbClr val="0078D4"/>
                      </a:gs>
                      <a:gs pos="0">
                        <a:srgbClr val="50E6FF"/>
                      </a:gs>
                    </a:gsLst>
                    <a:lin ang="18900000" scaled="1"/>
                    <a:tileRect/>
                  </a:gradFill>
                  <a:effectLst/>
                  <a:uLnTx/>
                  <a:uFillTx/>
                  <a:latin typeface="Segoe UI Semibold"/>
                  <a:ea typeface="MS PGothic" panose="020B0600070205080204" pitchFamily="34" charset="-128"/>
                  <a:cs typeface="Segoe UI Semibold" panose="020B0702040204020203" pitchFamily="34" charset="0"/>
                </a:rPr>
                <a:t>+</a:t>
              </a:r>
            </a:p>
          </p:txBody>
        </p:sp>
        <p:sp>
          <p:nvSpPr>
            <p:cNvPr id="19" name="TextBox 18">
              <a:extLst>
                <a:ext uri="{FF2B5EF4-FFF2-40B4-BE49-F238E27FC236}">
                  <a16:creationId xmlns:a16="http://schemas.microsoft.com/office/drawing/2014/main" id="{7B70E22A-EBBF-4042-89E2-620E8EE94CB7}"/>
                </a:ext>
              </a:extLst>
            </p:cNvPr>
            <p:cNvSpPr txBox="1"/>
            <p:nvPr/>
          </p:nvSpPr>
          <p:spPr>
            <a:xfrm>
              <a:off x="10583503" y="5798978"/>
              <a:ext cx="123226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ExpressRout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partners</a:t>
              </a:r>
            </a:p>
          </p:txBody>
        </p:sp>
      </p:grpSp>
      <p:grpSp>
        <p:nvGrpSpPr>
          <p:cNvPr id="228" name="Group 227" descr="Key">
            <a:extLst>
              <a:ext uri="{FF2B5EF4-FFF2-40B4-BE49-F238E27FC236}">
                <a16:creationId xmlns:a16="http://schemas.microsoft.com/office/drawing/2014/main" id="{D8C5E967-ECC9-4DFD-AD7D-8C042F93B5B2}"/>
              </a:ext>
            </a:extLst>
          </p:cNvPr>
          <p:cNvGrpSpPr/>
          <p:nvPr/>
        </p:nvGrpSpPr>
        <p:grpSpPr>
          <a:xfrm>
            <a:off x="588263" y="3596342"/>
            <a:ext cx="1555028" cy="1334934"/>
            <a:chOff x="588263" y="3455966"/>
            <a:chExt cx="1555028" cy="1334934"/>
          </a:xfrm>
        </p:grpSpPr>
        <p:grpSp>
          <p:nvGrpSpPr>
            <p:cNvPr id="224" name="Group 223">
              <a:extLst>
                <a:ext uri="{FF2B5EF4-FFF2-40B4-BE49-F238E27FC236}">
                  <a16:creationId xmlns:a16="http://schemas.microsoft.com/office/drawing/2014/main" id="{7B3A5BDA-B497-4336-9BD0-6756726581BF}"/>
                </a:ext>
              </a:extLst>
            </p:cNvPr>
            <p:cNvGrpSpPr/>
            <p:nvPr/>
          </p:nvGrpSpPr>
          <p:grpSpPr>
            <a:xfrm>
              <a:off x="642745" y="4369699"/>
              <a:ext cx="1321865" cy="123111"/>
              <a:chOff x="642745" y="4369699"/>
              <a:chExt cx="1321865" cy="123111"/>
            </a:xfrm>
          </p:grpSpPr>
          <p:sp>
            <p:nvSpPr>
              <p:cNvPr id="215" name="TextBox 214">
                <a:extLst>
                  <a:ext uri="{FF2B5EF4-FFF2-40B4-BE49-F238E27FC236}">
                    <a16:creationId xmlns:a16="http://schemas.microsoft.com/office/drawing/2014/main" id="{984F1FE2-596A-4403-91BC-72B38D2F66FC}"/>
                  </a:ext>
                </a:extLst>
              </p:cNvPr>
              <p:cNvSpPr txBox="1"/>
              <p:nvPr/>
            </p:nvSpPr>
            <p:spPr>
              <a:xfrm>
                <a:off x="883166" y="4369699"/>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Edge sites</a:t>
                </a:r>
              </a:p>
            </p:txBody>
          </p:sp>
          <p:sp>
            <p:nvSpPr>
              <p:cNvPr id="218" name="Freeform: Shape 217">
                <a:extLst>
                  <a:ext uri="{FF2B5EF4-FFF2-40B4-BE49-F238E27FC236}">
                    <a16:creationId xmlns:a16="http://schemas.microsoft.com/office/drawing/2014/main" id="{3D2F6C8A-911F-4349-806F-39EE01A64D0D}"/>
                  </a:ext>
                </a:extLst>
              </p:cNvPr>
              <p:cNvSpPr/>
              <p:nvPr/>
            </p:nvSpPr>
            <p:spPr>
              <a:xfrm>
                <a:off x="642745" y="4431254"/>
                <a:ext cx="34004" cy="22383"/>
              </a:xfrm>
              <a:custGeom>
                <a:avLst/>
                <a:gdLst>
                  <a:gd name="connsiteX0" fmla="*/ 0 w 34004"/>
                  <a:gd name="connsiteY0" fmla="*/ 22384 h 22383"/>
                  <a:gd name="connsiteX1" fmla="*/ 0 w 34004"/>
                  <a:gd name="connsiteY1" fmla="*/ 0 h 22383"/>
                  <a:gd name="connsiteX2" fmla="*/ 34004 w 34004"/>
                  <a:gd name="connsiteY2" fmla="*/ 0 h 22383"/>
                  <a:gd name="connsiteX3" fmla="*/ 34004 w 34004"/>
                  <a:gd name="connsiteY3" fmla="*/ 22384 h 22383"/>
                  <a:gd name="connsiteX4" fmla="*/ 0 w 34004"/>
                  <a:gd name="connsiteY4" fmla="*/ 22384 h 22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4" h="22383">
                    <a:moveTo>
                      <a:pt x="0" y="22384"/>
                    </a:moveTo>
                    <a:lnTo>
                      <a:pt x="0" y="0"/>
                    </a:lnTo>
                    <a:lnTo>
                      <a:pt x="34004" y="0"/>
                    </a:lnTo>
                    <a:lnTo>
                      <a:pt x="34004" y="22384"/>
                    </a:lnTo>
                    <a:lnTo>
                      <a:pt x="0" y="22384"/>
                    </a:lnTo>
                    <a:close/>
                  </a:path>
                </a:pathLst>
              </a:custGeom>
              <a:solidFill>
                <a:srgbClr val="50E6FF"/>
              </a:solidFill>
              <a:ln w="10297"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54357C97-EFEF-46EE-9BDA-BC3C04E56B49}"/>
                </a:ext>
              </a:extLst>
            </p:cNvPr>
            <p:cNvGrpSpPr/>
            <p:nvPr/>
          </p:nvGrpSpPr>
          <p:grpSpPr>
            <a:xfrm>
              <a:off x="588263" y="3757129"/>
              <a:ext cx="1376347" cy="151447"/>
              <a:chOff x="588263" y="3757129"/>
              <a:chExt cx="1376347" cy="151447"/>
            </a:xfrm>
          </p:grpSpPr>
          <p:sp>
            <p:nvSpPr>
              <p:cNvPr id="213" name="TextBox 212">
                <a:extLst>
                  <a:ext uri="{FF2B5EF4-FFF2-40B4-BE49-F238E27FC236}">
                    <a16:creationId xmlns:a16="http://schemas.microsoft.com/office/drawing/2014/main" id="{671701D4-EB43-4C79-ADD2-458DA1D65F3A}"/>
                  </a:ext>
                </a:extLst>
              </p:cNvPr>
              <p:cNvSpPr txBox="1"/>
              <p:nvPr/>
            </p:nvSpPr>
            <p:spPr>
              <a:xfrm>
                <a:off x="883166" y="3773515"/>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nnounced region</a:t>
                </a:r>
              </a:p>
            </p:txBody>
          </p:sp>
          <p:sp>
            <p:nvSpPr>
              <p:cNvPr id="219" name="Freeform: Shape 218">
                <a:extLst>
                  <a:ext uri="{FF2B5EF4-FFF2-40B4-BE49-F238E27FC236}">
                    <a16:creationId xmlns:a16="http://schemas.microsoft.com/office/drawing/2014/main" id="{88619D2E-C2A1-4398-92F4-E6BBF9DA474B}"/>
                  </a:ext>
                </a:extLst>
              </p:cNvPr>
              <p:cNvSpPr/>
              <p:nvPr/>
            </p:nvSpPr>
            <p:spPr>
              <a:xfrm>
                <a:off x="588263" y="3757129"/>
                <a:ext cx="152876" cy="151447"/>
              </a:xfrm>
              <a:custGeom>
                <a:avLst/>
                <a:gdLst>
                  <a:gd name="connsiteX0" fmla="*/ 20765 w 152876"/>
                  <a:gd name="connsiteY0" fmla="*/ 76486 h 151447"/>
                  <a:gd name="connsiteX1" fmla="*/ 21908 w 152876"/>
                  <a:gd name="connsiteY1" fmla="*/ 66008 h 151447"/>
                  <a:gd name="connsiteX2" fmla="*/ 1143 w 152876"/>
                  <a:gd name="connsiteY2" fmla="*/ 62103 h 151447"/>
                  <a:gd name="connsiteX3" fmla="*/ 0 w 152876"/>
                  <a:gd name="connsiteY3" fmla="*/ 77629 h 151447"/>
                  <a:gd name="connsiteX4" fmla="*/ 1143 w 152876"/>
                  <a:gd name="connsiteY4" fmla="*/ 93154 h 151447"/>
                  <a:gd name="connsiteX5" fmla="*/ 21908 w 152876"/>
                  <a:gd name="connsiteY5" fmla="*/ 89249 h 151447"/>
                  <a:gd name="connsiteX6" fmla="*/ 20765 w 152876"/>
                  <a:gd name="connsiteY6" fmla="*/ 76295 h 151447"/>
                  <a:gd name="connsiteX7" fmla="*/ 20765 w 152876"/>
                  <a:gd name="connsiteY7" fmla="*/ 76486 h 151447"/>
                  <a:gd name="connsiteX8" fmla="*/ 31052 w 152876"/>
                  <a:gd name="connsiteY8" fmla="*/ 107537 h 151447"/>
                  <a:gd name="connsiteX9" fmla="*/ 12954 w 152876"/>
                  <a:gd name="connsiteY9" fmla="*/ 118015 h 151447"/>
                  <a:gd name="connsiteX10" fmla="*/ 33719 w 152876"/>
                  <a:gd name="connsiteY10" fmla="*/ 138779 h 151447"/>
                  <a:gd name="connsiteX11" fmla="*/ 45339 w 152876"/>
                  <a:gd name="connsiteY11" fmla="*/ 121920 h 151447"/>
                  <a:gd name="connsiteX12" fmla="*/ 31052 w 152876"/>
                  <a:gd name="connsiteY12" fmla="*/ 107632 h 151447"/>
                  <a:gd name="connsiteX13" fmla="*/ 31052 w 152876"/>
                  <a:gd name="connsiteY13" fmla="*/ 107537 h 151447"/>
                  <a:gd name="connsiteX14" fmla="*/ 121825 w 152876"/>
                  <a:gd name="connsiteY14" fmla="*/ 45339 h 151447"/>
                  <a:gd name="connsiteX15" fmla="*/ 138684 w 152876"/>
                  <a:gd name="connsiteY15" fmla="*/ 33718 h 151447"/>
                  <a:gd name="connsiteX16" fmla="*/ 117920 w 152876"/>
                  <a:gd name="connsiteY16" fmla="*/ 12954 h 151447"/>
                  <a:gd name="connsiteX17" fmla="*/ 106299 w 152876"/>
                  <a:gd name="connsiteY17" fmla="*/ 29813 h 151447"/>
                  <a:gd name="connsiteX18" fmla="*/ 121825 w 152876"/>
                  <a:gd name="connsiteY18" fmla="*/ 45339 h 151447"/>
                  <a:gd name="connsiteX19" fmla="*/ 121825 w 152876"/>
                  <a:gd name="connsiteY19" fmla="*/ 45339 h 151447"/>
                  <a:gd name="connsiteX20" fmla="*/ 76391 w 152876"/>
                  <a:gd name="connsiteY20" fmla="*/ 20765 h 151447"/>
                  <a:gd name="connsiteX21" fmla="*/ 86868 w 152876"/>
                  <a:gd name="connsiteY21" fmla="*/ 21907 h 151447"/>
                  <a:gd name="connsiteX22" fmla="*/ 90773 w 152876"/>
                  <a:gd name="connsiteY22" fmla="*/ 1143 h 151447"/>
                  <a:gd name="connsiteX23" fmla="*/ 76486 w 152876"/>
                  <a:gd name="connsiteY23" fmla="*/ 0 h 151447"/>
                  <a:gd name="connsiteX24" fmla="*/ 62198 w 152876"/>
                  <a:gd name="connsiteY24" fmla="*/ 1143 h 151447"/>
                  <a:gd name="connsiteX25" fmla="*/ 66104 w 152876"/>
                  <a:gd name="connsiteY25" fmla="*/ 21907 h 151447"/>
                  <a:gd name="connsiteX26" fmla="*/ 76581 w 152876"/>
                  <a:gd name="connsiteY26" fmla="*/ 20765 h 151447"/>
                  <a:gd name="connsiteX27" fmla="*/ 76391 w 152876"/>
                  <a:gd name="connsiteY27" fmla="*/ 20765 h 151447"/>
                  <a:gd name="connsiteX28" fmla="*/ 132112 w 152876"/>
                  <a:gd name="connsiteY28" fmla="*/ 76486 h 151447"/>
                  <a:gd name="connsiteX29" fmla="*/ 130969 w 152876"/>
                  <a:gd name="connsiteY29" fmla="*/ 86963 h 151447"/>
                  <a:gd name="connsiteX30" fmla="*/ 151733 w 152876"/>
                  <a:gd name="connsiteY30" fmla="*/ 90868 h 151447"/>
                  <a:gd name="connsiteX31" fmla="*/ 152876 w 152876"/>
                  <a:gd name="connsiteY31" fmla="*/ 76581 h 151447"/>
                  <a:gd name="connsiteX32" fmla="*/ 151733 w 152876"/>
                  <a:gd name="connsiteY32" fmla="*/ 62293 h 151447"/>
                  <a:gd name="connsiteX33" fmla="*/ 130969 w 152876"/>
                  <a:gd name="connsiteY33" fmla="*/ 66199 h 151447"/>
                  <a:gd name="connsiteX34" fmla="*/ 132112 w 152876"/>
                  <a:gd name="connsiteY34" fmla="*/ 76676 h 151447"/>
                  <a:gd name="connsiteX35" fmla="*/ 132112 w 152876"/>
                  <a:gd name="connsiteY35" fmla="*/ 76486 h 151447"/>
                  <a:gd name="connsiteX36" fmla="*/ 45339 w 152876"/>
                  <a:gd name="connsiteY36" fmla="*/ 29813 h 151447"/>
                  <a:gd name="connsiteX37" fmla="*/ 34862 w 152876"/>
                  <a:gd name="connsiteY37" fmla="*/ 12954 h 151447"/>
                  <a:gd name="connsiteX38" fmla="*/ 14097 w 152876"/>
                  <a:gd name="connsiteY38" fmla="*/ 33718 h 151447"/>
                  <a:gd name="connsiteX39" fmla="*/ 30956 w 152876"/>
                  <a:gd name="connsiteY39" fmla="*/ 45339 h 151447"/>
                  <a:gd name="connsiteX40" fmla="*/ 45244 w 152876"/>
                  <a:gd name="connsiteY40" fmla="*/ 29813 h 151447"/>
                  <a:gd name="connsiteX41" fmla="*/ 45339 w 152876"/>
                  <a:gd name="connsiteY41" fmla="*/ 29813 h 151447"/>
                  <a:gd name="connsiteX42" fmla="*/ 107537 w 152876"/>
                  <a:gd name="connsiteY42" fmla="*/ 121825 h 151447"/>
                  <a:gd name="connsiteX43" fmla="*/ 119158 w 152876"/>
                  <a:gd name="connsiteY43" fmla="*/ 138684 h 151447"/>
                  <a:gd name="connsiteX44" fmla="*/ 139922 w 152876"/>
                  <a:gd name="connsiteY44" fmla="*/ 117919 h 151447"/>
                  <a:gd name="connsiteX45" fmla="*/ 123063 w 152876"/>
                  <a:gd name="connsiteY45" fmla="*/ 106299 h 151447"/>
                  <a:gd name="connsiteX46" fmla="*/ 107537 w 152876"/>
                  <a:gd name="connsiteY46" fmla="*/ 121825 h 151447"/>
                  <a:gd name="connsiteX47" fmla="*/ 107537 w 152876"/>
                  <a:gd name="connsiteY47" fmla="*/ 121825 h 151447"/>
                  <a:gd name="connsiteX48" fmla="*/ 76391 w 152876"/>
                  <a:gd name="connsiteY48" fmla="*/ 130873 h 151447"/>
                  <a:gd name="connsiteX49" fmla="*/ 65913 w 152876"/>
                  <a:gd name="connsiteY49" fmla="*/ 129540 h 151447"/>
                  <a:gd name="connsiteX50" fmla="*/ 62008 w 152876"/>
                  <a:gd name="connsiteY50" fmla="*/ 150304 h 151447"/>
                  <a:gd name="connsiteX51" fmla="*/ 76295 w 152876"/>
                  <a:gd name="connsiteY51" fmla="*/ 151447 h 151447"/>
                  <a:gd name="connsiteX52" fmla="*/ 91821 w 152876"/>
                  <a:gd name="connsiteY52" fmla="*/ 150304 h 151447"/>
                  <a:gd name="connsiteX53" fmla="*/ 87916 w 152876"/>
                  <a:gd name="connsiteY53" fmla="*/ 129540 h 151447"/>
                  <a:gd name="connsiteX54" fmla="*/ 76295 w 152876"/>
                  <a:gd name="connsiteY54" fmla="*/ 130873 h 151447"/>
                  <a:gd name="connsiteX55" fmla="*/ 76391 w 152876"/>
                  <a:gd name="connsiteY55" fmla="*/ 130873 h 15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2876" h="151447">
                    <a:moveTo>
                      <a:pt x="20765" y="76486"/>
                    </a:moveTo>
                    <a:cubicBezTo>
                      <a:pt x="20765" y="72580"/>
                      <a:pt x="20765" y="68675"/>
                      <a:pt x="21908" y="66008"/>
                    </a:cubicBezTo>
                    <a:lnTo>
                      <a:pt x="1143" y="62103"/>
                    </a:lnTo>
                    <a:cubicBezTo>
                      <a:pt x="0" y="67246"/>
                      <a:pt x="0" y="72580"/>
                      <a:pt x="0" y="77629"/>
                    </a:cubicBezTo>
                    <a:cubicBezTo>
                      <a:pt x="0" y="82677"/>
                      <a:pt x="0" y="88106"/>
                      <a:pt x="1143" y="93154"/>
                    </a:cubicBezTo>
                    <a:lnTo>
                      <a:pt x="21908" y="89249"/>
                    </a:lnTo>
                    <a:cubicBezTo>
                      <a:pt x="21908" y="82772"/>
                      <a:pt x="20765" y="80200"/>
                      <a:pt x="20765" y="76295"/>
                    </a:cubicBezTo>
                    <a:lnTo>
                      <a:pt x="20765" y="76486"/>
                    </a:lnTo>
                    <a:close/>
                    <a:moveTo>
                      <a:pt x="31052" y="107537"/>
                    </a:moveTo>
                    <a:lnTo>
                      <a:pt x="12954" y="118015"/>
                    </a:lnTo>
                    <a:cubicBezTo>
                      <a:pt x="18479" y="126206"/>
                      <a:pt x="25527" y="133160"/>
                      <a:pt x="33719" y="138779"/>
                    </a:cubicBezTo>
                    <a:lnTo>
                      <a:pt x="45339" y="121920"/>
                    </a:lnTo>
                    <a:cubicBezTo>
                      <a:pt x="40005" y="117824"/>
                      <a:pt x="35147" y="113062"/>
                      <a:pt x="31052" y="107632"/>
                    </a:cubicBezTo>
                    <a:lnTo>
                      <a:pt x="31052" y="107537"/>
                    </a:lnTo>
                    <a:close/>
                    <a:moveTo>
                      <a:pt x="121825" y="45339"/>
                    </a:moveTo>
                    <a:lnTo>
                      <a:pt x="138684" y="33718"/>
                    </a:lnTo>
                    <a:cubicBezTo>
                      <a:pt x="133160" y="25527"/>
                      <a:pt x="126111" y="18574"/>
                      <a:pt x="117920" y="12954"/>
                    </a:cubicBezTo>
                    <a:lnTo>
                      <a:pt x="106299" y="29813"/>
                    </a:lnTo>
                    <a:cubicBezTo>
                      <a:pt x="112681" y="33623"/>
                      <a:pt x="118015" y="38957"/>
                      <a:pt x="121825" y="45339"/>
                    </a:cubicBezTo>
                    <a:lnTo>
                      <a:pt x="121825" y="45339"/>
                    </a:lnTo>
                    <a:close/>
                    <a:moveTo>
                      <a:pt x="76391" y="20765"/>
                    </a:moveTo>
                    <a:cubicBezTo>
                      <a:pt x="80296" y="20765"/>
                      <a:pt x="84201" y="20765"/>
                      <a:pt x="86868" y="21907"/>
                    </a:cubicBezTo>
                    <a:lnTo>
                      <a:pt x="90773" y="1143"/>
                    </a:lnTo>
                    <a:cubicBezTo>
                      <a:pt x="86868" y="0"/>
                      <a:pt x="81725" y="0"/>
                      <a:pt x="76486" y="0"/>
                    </a:cubicBezTo>
                    <a:cubicBezTo>
                      <a:pt x="71247" y="0"/>
                      <a:pt x="66008" y="0"/>
                      <a:pt x="62198" y="1143"/>
                    </a:cubicBezTo>
                    <a:lnTo>
                      <a:pt x="66104" y="21907"/>
                    </a:lnTo>
                    <a:cubicBezTo>
                      <a:pt x="70009" y="20765"/>
                      <a:pt x="72581" y="20765"/>
                      <a:pt x="76581" y="20765"/>
                    </a:cubicBezTo>
                    <a:lnTo>
                      <a:pt x="76391" y="20765"/>
                    </a:lnTo>
                    <a:close/>
                    <a:moveTo>
                      <a:pt x="132112" y="76486"/>
                    </a:moveTo>
                    <a:cubicBezTo>
                      <a:pt x="132112" y="80391"/>
                      <a:pt x="132112" y="84296"/>
                      <a:pt x="130969" y="86963"/>
                    </a:cubicBezTo>
                    <a:lnTo>
                      <a:pt x="151733" y="90868"/>
                    </a:lnTo>
                    <a:cubicBezTo>
                      <a:pt x="152876" y="85725"/>
                      <a:pt x="152876" y="80391"/>
                      <a:pt x="152876" y="76581"/>
                    </a:cubicBezTo>
                    <a:cubicBezTo>
                      <a:pt x="152876" y="71438"/>
                      <a:pt x="152876" y="66103"/>
                      <a:pt x="151733" y="62293"/>
                    </a:cubicBezTo>
                    <a:lnTo>
                      <a:pt x="130969" y="66199"/>
                    </a:lnTo>
                    <a:cubicBezTo>
                      <a:pt x="130969" y="68770"/>
                      <a:pt x="132112" y="72676"/>
                      <a:pt x="132112" y="76676"/>
                    </a:cubicBezTo>
                    <a:lnTo>
                      <a:pt x="132112" y="76486"/>
                    </a:lnTo>
                    <a:close/>
                    <a:moveTo>
                      <a:pt x="45339" y="29813"/>
                    </a:moveTo>
                    <a:lnTo>
                      <a:pt x="34862" y="12954"/>
                    </a:lnTo>
                    <a:cubicBezTo>
                      <a:pt x="26670" y="18478"/>
                      <a:pt x="19717" y="25527"/>
                      <a:pt x="14097" y="33718"/>
                    </a:cubicBezTo>
                    <a:lnTo>
                      <a:pt x="30956" y="45339"/>
                    </a:lnTo>
                    <a:cubicBezTo>
                      <a:pt x="34671" y="39243"/>
                      <a:pt x="39529" y="34004"/>
                      <a:pt x="45244" y="29813"/>
                    </a:cubicBezTo>
                    <a:lnTo>
                      <a:pt x="45339" y="29813"/>
                    </a:lnTo>
                    <a:close/>
                    <a:moveTo>
                      <a:pt x="107537" y="121825"/>
                    </a:moveTo>
                    <a:lnTo>
                      <a:pt x="119158" y="138684"/>
                    </a:lnTo>
                    <a:cubicBezTo>
                      <a:pt x="127349" y="133160"/>
                      <a:pt x="134303" y="126111"/>
                      <a:pt x="139922" y="117919"/>
                    </a:cubicBezTo>
                    <a:lnTo>
                      <a:pt x="123063" y="106299"/>
                    </a:lnTo>
                    <a:cubicBezTo>
                      <a:pt x="117920" y="112776"/>
                      <a:pt x="112586" y="117919"/>
                      <a:pt x="107537" y="121825"/>
                    </a:cubicBezTo>
                    <a:lnTo>
                      <a:pt x="107537" y="121825"/>
                    </a:lnTo>
                    <a:close/>
                    <a:moveTo>
                      <a:pt x="76391" y="130873"/>
                    </a:moveTo>
                    <a:cubicBezTo>
                      <a:pt x="72485" y="130873"/>
                      <a:pt x="68580" y="130873"/>
                      <a:pt x="65913" y="129540"/>
                    </a:cubicBezTo>
                    <a:lnTo>
                      <a:pt x="62008" y="150304"/>
                    </a:lnTo>
                    <a:cubicBezTo>
                      <a:pt x="67151" y="151447"/>
                      <a:pt x="71057" y="151447"/>
                      <a:pt x="76295" y="151447"/>
                    </a:cubicBezTo>
                    <a:cubicBezTo>
                      <a:pt x="81534" y="151447"/>
                      <a:pt x="86773" y="151447"/>
                      <a:pt x="91821" y="150304"/>
                    </a:cubicBezTo>
                    <a:lnTo>
                      <a:pt x="87916" y="129540"/>
                    </a:lnTo>
                    <a:cubicBezTo>
                      <a:pt x="84011" y="130873"/>
                      <a:pt x="80105" y="130873"/>
                      <a:pt x="76295" y="130873"/>
                    </a:cubicBezTo>
                    <a:lnTo>
                      <a:pt x="76391" y="13087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5" name="Group 224">
              <a:extLst>
                <a:ext uri="{FF2B5EF4-FFF2-40B4-BE49-F238E27FC236}">
                  <a16:creationId xmlns:a16="http://schemas.microsoft.com/office/drawing/2014/main" id="{CA345A4B-74B0-4761-BD02-0D3C9DE6F1B9}"/>
                </a:ext>
              </a:extLst>
            </p:cNvPr>
            <p:cNvGrpSpPr/>
            <p:nvPr/>
          </p:nvGrpSpPr>
          <p:grpSpPr>
            <a:xfrm>
              <a:off x="627696" y="4071607"/>
              <a:ext cx="1515595" cy="123111"/>
              <a:chOff x="627696" y="4071607"/>
              <a:chExt cx="1515595" cy="123111"/>
            </a:xfrm>
          </p:grpSpPr>
          <p:sp>
            <p:nvSpPr>
              <p:cNvPr id="214" name="TextBox 213">
                <a:extLst>
                  <a:ext uri="{FF2B5EF4-FFF2-40B4-BE49-F238E27FC236}">
                    <a16:creationId xmlns:a16="http://schemas.microsoft.com/office/drawing/2014/main" id="{B8EC1BE9-73B9-4542-A1CD-F7EC7D6A6C72}"/>
                  </a:ext>
                </a:extLst>
              </p:cNvPr>
              <p:cNvSpPr txBox="1"/>
              <p:nvPr/>
            </p:nvSpPr>
            <p:spPr>
              <a:xfrm>
                <a:off x="883166" y="4071607"/>
                <a:ext cx="126012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vailability zones</a:t>
                </a:r>
              </a:p>
            </p:txBody>
          </p:sp>
          <p:sp>
            <p:nvSpPr>
              <p:cNvPr id="220" name="Freeform: Shape 219">
                <a:extLst>
                  <a:ext uri="{FF2B5EF4-FFF2-40B4-BE49-F238E27FC236}">
                    <a16:creationId xmlns:a16="http://schemas.microsoft.com/office/drawing/2014/main" id="{3E064243-66F2-46CE-AF86-16E57516FE86}"/>
                  </a:ext>
                </a:extLst>
              </p:cNvPr>
              <p:cNvSpPr/>
              <p:nvPr/>
            </p:nvSpPr>
            <p:spPr>
              <a:xfrm>
                <a:off x="627696" y="4095253"/>
                <a:ext cx="75819" cy="75818"/>
              </a:xfrm>
              <a:custGeom>
                <a:avLst/>
                <a:gdLst>
                  <a:gd name="connsiteX0" fmla="*/ 37910 w 75819"/>
                  <a:gd name="connsiteY0" fmla="*/ 0 h 75818"/>
                  <a:gd name="connsiteX1" fmla="*/ 75819 w 75819"/>
                  <a:gd name="connsiteY1" fmla="*/ 37909 h 75818"/>
                  <a:gd name="connsiteX2" fmla="*/ 37910 w 75819"/>
                  <a:gd name="connsiteY2" fmla="*/ 75819 h 75818"/>
                  <a:gd name="connsiteX3" fmla="*/ 0 w 75819"/>
                  <a:gd name="connsiteY3" fmla="*/ 37909 h 75818"/>
                  <a:gd name="connsiteX4" fmla="*/ 37910 w 75819"/>
                  <a:gd name="connsiteY4" fmla="*/ 0 h 75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19" h="75818">
                    <a:moveTo>
                      <a:pt x="37910" y="0"/>
                    </a:moveTo>
                    <a:lnTo>
                      <a:pt x="75819" y="37909"/>
                    </a:lnTo>
                    <a:lnTo>
                      <a:pt x="37910" y="75819"/>
                    </a:lnTo>
                    <a:lnTo>
                      <a:pt x="0" y="37909"/>
                    </a:lnTo>
                    <a:lnTo>
                      <a:pt x="37910"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7" name="Group 226">
              <a:extLst>
                <a:ext uri="{FF2B5EF4-FFF2-40B4-BE49-F238E27FC236}">
                  <a16:creationId xmlns:a16="http://schemas.microsoft.com/office/drawing/2014/main" id="{2B2F060B-12AD-4770-A531-E8EC192FB184}"/>
                </a:ext>
              </a:extLst>
            </p:cNvPr>
            <p:cNvGrpSpPr/>
            <p:nvPr/>
          </p:nvGrpSpPr>
          <p:grpSpPr>
            <a:xfrm>
              <a:off x="589882" y="3455966"/>
              <a:ext cx="1273068" cy="163068"/>
              <a:chOff x="589882" y="3455966"/>
              <a:chExt cx="1273068" cy="163068"/>
            </a:xfrm>
          </p:grpSpPr>
          <p:sp>
            <p:nvSpPr>
              <p:cNvPr id="212" name="TextBox 211">
                <a:extLst>
                  <a:ext uri="{FF2B5EF4-FFF2-40B4-BE49-F238E27FC236}">
                    <a16:creationId xmlns:a16="http://schemas.microsoft.com/office/drawing/2014/main" id="{009404E8-56CA-461F-B99F-DDF7FD59ED4D}"/>
                  </a:ext>
                </a:extLst>
              </p:cNvPr>
              <p:cNvSpPr txBox="1"/>
              <p:nvPr/>
            </p:nvSpPr>
            <p:spPr>
              <a:xfrm>
                <a:off x="883166" y="3475423"/>
                <a:ext cx="97978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Available region</a:t>
                </a:r>
              </a:p>
            </p:txBody>
          </p:sp>
          <p:sp>
            <p:nvSpPr>
              <p:cNvPr id="221" name="Freeform: Shape 220">
                <a:extLst>
                  <a:ext uri="{FF2B5EF4-FFF2-40B4-BE49-F238E27FC236}">
                    <a16:creationId xmlns:a16="http://schemas.microsoft.com/office/drawing/2014/main" id="{C547F7BC-9298-443F-A38A-238618A87E62}"/>
                  </a:ext>
                </a:extLst>
              </p:cNvPr>
              <p:cNvSpPr/>
              <p:nvPr/>
            </p:nvSpPr>
            <p:spPr>
              <a:xfrm>
                <a:off x="589882" y="3455966"/>
                <a:ext cx="151447" cy="163068"/>
              </a:xfrm>
              <a:custGeom>
                <a:avLst/>
                <a:gdLst>
                  <a:gd name="connsiteX0" fmla="*/ 75724 w 151447"/>
                  <a:gd name="connsiteY0" fmla="*/ 0 h 163068"/>
                  <a:gd name="connsiteX1" fmla="*/ 75724 w 151447"/>
                  <a:gd name="connsiteY1" fmla="*/ 0 h 163068"/>
                  <a:gd name="connsiteX2" fmla="*/ 151448 w 151447"/>
                  <a:gd name="connsiteY2" fmla="*/ 75724 h 163068"/>
                  <a:gd name="connsiteX3" fmla="*/ 151448 w 151447"/>
                  <a:gd name="connsiteY3" fmla="*/ 87344 h 163068"/>
                  <a:gd name="connsiteX4" fmla="*/ 75724 w 151447"/>
                  <a:gd name="connsiteY4" fmla="*/ 163068 h 163068"/>
                  <a:gd name="connsiteX5" fmla="*/ 75724 w 151447"/>
                  <a:gd name="connsiteY5" fmla="*/ 163068 h 163068"/>
                  <a:gd name="connsiteX6" fmla="*/ 0 w 151447"/>
                  <a:gd name="connsiteY6" fmla="*/ 87344 h 163068"/>
                  <a:gd name="connsiteX7" fmla="*/ 0 w 151447"/>
                  <a:gd name="connsiteY7" fmla="*/ 75724 h 163068"/>
                  <a:gd name="connsiteX8" fmla="*/ 75724 w 151447"/>
                  <a:gd name="connsiteY8" fmla="*/ 0 h 16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447" h="163068">
                    <a:moveTo>
                      <a:pt x="75724" y="0"/>
                    </a:moveTo>
                    <a:lnTo>
                      <a:pt x="75724" y="0"/>
                    </a:lnTo>
                    <a:cubicBezTo>
                      <a:pt x="117539" y="0"/>
                      <a:pt x="151448" y="33909"/>
                      <a:pt x="151448" y="75724"/>
                    </a:cubicBezTo>
                    <a:lnTo>
                      <a:pt x="151448" y="87344"/>
                    </a:lnTo>
                    <a:cubicBezTo>
                      <a:pt x="151448" y="129159"/>
                      <a:pt x="117539" y="163068"/>
                      <a:pt x="75724" y="163068"/>
                    </a:cubicBezTo>
                    <a:lnTo>
                      <a:pt x="75724" y="163068"/>
                    </a:lnTo>
                    <a:cubicBezTo>
                      <a:pt x="33909" y="163068"/>
                      <a:pt x="0" y="129159"/>
                      <a:pt x="0" y="87344"/>
                    </a:cubicBezTo>
                    <a:lnTo>
                      <a:pt x="0" y="75724"/>
                    </a:lnTo>
                    <a:cubicBezTo>
                      <a:pt x="0" y="33909"/>
                      <a:pt x="33909" y="0"/>
                      <a:pt x="75724"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3BFDED61-59C0-4FA6-8707-A6A38C3B4F51}"/>
                </a:ext>
              </a:extLst>
            </p:cNvPr>
            <p:cNvGrpSpPr/>
            <p:nvPr/>
          </p:nvGrpSpPr>
          <p:grpSpPr>
            <a:xfrm>
              <a:off x="589882" y="4667789"/>
              <a:ext cx="1374728" cy="123111"/>
              <a:chOff x="589882" y="4667789"/>
              <a:chExt cx="1374728" cy="123111"/>
            </a:xfrm>
          </p:grpSpPr>
          <p:sp>
            <p:nvSpPr>
              <p:cNvPr id="216" name="TextBox 215">
                <a:extLst>
                  <a:ext uri="{FF2B5EF4-FFF2-40B4-BE49-F238E27FC236}">
                    <a16:creationId xmlns:a16="http://schemas.microsoft.com/office/drawing/2014/main" id="{1656E0FF-D129-4FCF-B61B-7AD6D32F80C9}"/>
                  </a:ext>
                </a:extLst>
              </p:cNvPr>
              <p:cNvSpPr txBox="1"/>
              <p:nvPr/>
            </p:nvSpPr>
            <p:spPr>
              <a:xfrm>
                <a:off x="883166" y="4667789"/>
                <a:ext cx="1081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a:ea typeface="+mn-ea"/>
                    <a:cs typeface="+mn-cs"/>
                  </a:rPr>
                  <a:t>WAN links</a:t>
                </a:r>
              </a:p>
            </p:txBody>
          </p:sp>
          <p:sp>
            <p:nvSpPr>
              <p:cNvPr id="222" name="Freeform: Shape 221">
                <a:extLst>
                  <a:ext uri="{FF2B5EF4-FFF2-40B4-BE49-F238E27FC236}">
                    <a16:creationId xmlns:a16="http://schemas.microsoft.com/office/drawing/2014/main" id="{272528B4-B31E-4923-A168-9AE1AF5748A1}"/>
                  </a:ext>
                </a:extLst>
              </p:cNvPr>
              <p:cNvSpPr/>
              <p:nvPr/>
            </p:nvSpPr>
            <p:spPr>
              <a:xfrm>
                <a:off x="589882" y="4729344"/>
                <a:ext cx="151447" cy="9525"/>
              </a:xfrm>
              <a:custGeom>
                <a:avLst/>
                <a:gdLst>
                  <a:gd name="connsiteX0" fmla="*/ 0 w 151447"/>
                  <a:gd name="connsiteY0" fmla="*/ 0 h 9525"/>
                  <a:gd name="connsiteX1" fmla="*/ 151448 w 151447"/>
                  <a:gd name="connsiteY1" fmla="*/ 0 h 9525"/>
                </a:gdLst>
                <a:ahLst/>
                <a:cxnLst>
                  <a:cxn ang="0">
                    <a:pos x="connsiteX0" y="connsiteY0"/>
                  </a:cxn>
                  <a:cxn ang="0">
                    <a:pos x="connsiteX1" y="connsiteY1"/>
                  </a:cxn>
                </a:cxnLst>
                <a:rect l="l" t="t" r="r" b="b"/>
                <a:pathLst>
                  <a:path w="151447" h="9525">
                    <a:moveTo>
                      <a:pt x="0" y="0"/>
                    </a:moveTo>
                    <a:lnTo>
                      <a:pt x="151448" y="0"/>
                    </a:lnTo>
                  </a:path>
                </a:pathLst>
              </a:custGeom>
              <a:noFill/>
              <a:ln w="4763" cap="flat">
                <a:solidFill>
                  <a:srgbClr val="50E6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926805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100"/>
                                  </p:stCondLst>
                                  <p:childTnLst>
                                    <p:animMotion origin="layout" path="M -3.75E-6 -1.48148E-6 L -3.75E-6 0.01898 " pathEditMode="relative" rAng="0" ptsTypes="AA">
                                      <p:cBhvr>
                                        <p:cTn id="9" dur="700" spd="-100000" fill="hold"/>
                                        <p:tgtEl>
                                          <p:spTgt spid="20"/>
                                        </p:tgtEl>
                                        <p:attrNameLst>
                                          <p:attrName>ppt_x</p:attrName>
                                          <p:attrName>ppt_y</p:attrName>
                                        </p:attrNameLst>
                                      </p:cBhvr>
                                      <p:rCtr x="0" y="949"/>
                                    </p:animMotion>
                                  </p:childTnLst>
                                </p:cTn>
                              </p:par>
                              <p:par>
                                <p:cTn id="10" presetID="10" presetClass="entr" presetSubtype="0" fill="hold"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200"/>
                                  </p:stCondLst>
                                  <p:childTnLst>
                                    <p:animMotion origin="layout" path="M 2.08333E-7 -1.48148E-6 L 2.08333E-7 0.01898 " pathEditMode="relative" rAng="0" ptsTypes="AA">
                                      <p:cBhvr>
                                        <p:cTn id="14" dur="700" spd="-100000" fill="hold"/>
                                        <p:tgtEl>
                                          <p:spTgt spid="21"/>
                                        </p:tgtEl>
                                        <p:attrNameLst>
                                          <p:attrName>ppt_x</p:attrName>
                                          <p:attrName>ppt_y</p:attrName>
                                        </p:attrNameLst>
                                      </p:cBhvr>
                                      <p:rCtr x="0" y="949"/>
                                    </p:animMotion>
                                  </p:childTnLst>
                                </p:cTn>
                              </p:par>
                              <p:par>
                                <p:cTn id="15" presetID="10" presetClass="entr" presetSubtype="0" fill="hold" nodeType="withEffect">
                                  <p:stCondLst>
                                    <p:cond delay="3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300"/>
                                  </p:stCondLst>
                                  <p:childTnLst>
                                    <p:animMotion origin="layout" path="M -3.95833E-6 3.33333E-6 L -3.95833E-6 0.01898 " pathEditMode="relative" rAng="0" ptsTypes="AA">
                                      <p:cBhvr>
                                        <p:cTn id="19" dur="700" spd="-100000" fill="hold"/>
                                        <p:tgtEl>
                                          <p:spTgt spid="22"/>
                                        </p:tgtEl>
                                        <p:attrNameLst>
                                          <p:attrName>ppt_x</p:attrName>
                                          <p:attrName>ppt_y</p:attrName>
                                        </p:attrNameLst>
                                      </p:cBhvr>
                                      <p:rCtr x="0" y="949"/>
                                    </p:animMotion>
                                  </p:childTnLst>
                                </p:cTn>
                              </p:par>
                              <p:par>
                                <p:cTn id="20" presetID="10" presetClass="entr" presetSubtype="0" fill="hold" nodeType="withEffect">
                                  <p:stCondLst>
                                    <p:cond delay="4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42" presetClass="path" presetSubtype="0" decel="100000" fill="hold" nodeType="withEffect">
                                  <p:stCondLst>
                                    <p:cond delay="400"/>
                                  </p:stCondLst>
                                  <p:childTnLst>
                                    <p:animMotion origin="layout" path="M -3.125E-6 -1.48148E-6 L -3.125E-6 0.01898 " pathEditMode="relative" rAng="0" ptsTypes="AA">
                                      <p:cBhvr>
                                        <p:cTn id="24" dur="700" spd="-100000" fill="hold"/>
                                        <p:tgtEl>
                                          <p:spTgt spid="2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B75E5759-008C-4B6A-BDDC-ADCBADEF64BF}"/>
              </a:ext>
            </a:extLst>
          </p:cNvPr>
          <p:cNvSpPr>
            <a:spLocks noGrp="1"/>
          </p:cNvSpPr>
          <p:nvPr>
            <p:ph type="title"/>
          </p:nvPr>
        </p:nvSpPr>
        <p:spPr>
          <a:xfrm>
            <a:off x="478885" y="3152001"/>
            <a:ext cx="5532631" cy="553998"/>
          </a:xfrm>
        </p:spPr>
        <p:txBody>
          <a:bodyPr/>
          <a:lstStyle/>
          <a:p>
            <a:r>
              <a:rPr lang="en-US" dirty="0">
                <a:solidFill>
                  <a:schemeClr val="accent3"/>
                </a:solidFill>
              </a:rPr>
              <a:t>Top of mind</a:t>
            </a:r>
            <a:endParaRPr lang="en-IN" dirty="0">
              <a:solidFill>
                <a:schemeClr val="accent3"/>
              </a:solidFill>
            </a:endParaRPr>
          </a:p>
        </p:txBody>
      </p:sp>
      <p:sp>
        <p:nvSpPr>
          <p:cNvPr id="30" name="Isosceles Triangle 29">
            <a:extLst>
              <a:ext uri="{FF2B5EF4-FFF2-40B4-BE49-F238E27FC236}">
                <a16:creationId xmlns:a16="http://schemas.microsoft.com/office/drawing/2014/main" id="{57B4FB37-963F-451E-83C5-BA1A453C5CE5}"/>
              </a:ext>
              <a:ext uri="{C183D7F6-B498-43B3-948B-1728B52AA6E4}">
                <adec:decorative xmlns:adec="http://schemas.microsoft.com/office/drawing/2017/decorative" xmlns="" val="1"/>
              </a:ext>
            </a:extLst>
          </p:cNvPr>
          <p:cNvSpPr/>
          <p:nvPr/>
        </p:nvSpPr>
        <p:spPr>
          <a:xfrm rot="5400000">
            <a:off x="5704599" y="3372648"/>
            <a:ext cx="447533" cy="16630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 name="Speech Bubble: Rectangle 1">
            <a:extLst>
              <a:ext uri="{FF2B5EF4-FFF2-40B4-BE49-F238E27FC236}">
                <a16:creationId xmlns:a16="http://schemas.microsoft.com/office/drawing/2014/main" id="{8735D320-AEAC-4C18-ACDB-69803C0BE49C}"/>
              </a:ext>
            </a:extLst>
          </p:cNvPr>
          <p:cNvSpPr/>
          <p:nvPr/>
        </p:nvSpPr>
        <p:spPr bwMode="auto">
          <a:xfrm>
            <a:off x="7643811" y="525881"/>
            <a:ext cx="3739535" cy="929695"/>
          </a:xfrm>
          <a:prstGeom prst="wedgeRectCallout">
            <a:avLst>
              <a:gd name="adj1" fmla="val -46362"/>
              <a:gd name="adj2" fmla="val 8654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How can I ensure my business continues to run without interruptions? </a:t>
            </a:r>
          </a:p>
        </p:txBody>
      </p:sp>
      <p:sp>
        <p:nvSpPr>
          <p:cNvPr id="3" name="Speech Bubble: Rectangle 2">
            <a:extLst>
              <a:ext uri="{FF2B5EF4-FFF2-40B4-BE49-F238E27FC236}">
                <a16:creationId xmlns:a16="http://schemas.microsoft.com/office/drawing/2014/main" id="{87C09098-1EC9-4FCD-BF9C-E0C015B575A1}"/>
              </a:ext>
            </a:extLst>
          </p:cNvPr>
          <p:cNvSpPr/>
          <p:nvPr/>
        </p:nvSpPr>
        <p:spPr bwMode="auto">
          <a:xfrm>
            <a:off x="3883764" y="2918699"/>
            <a:ext cx="3629156" cy="1043363"/>
          </a:xfrm>
          <a:prstGeom prst="wedgeRectCallout">
            <a:avLst>
              <a:gd name="adj1" fmla="val -45690"/>
              <a:gd name="adj2" fmla="val 86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Should I reconsider running my own datacenter given resource/financial constraints?</a:t>
            </a:r>
          </a:p>
        </p:txBody>
      </p:sp>
      <p:sp>
        <p:nvSpPr>
          <p:cNvPr id="4" name="TextBox 3">
            <a:extLst>
              <a:ext uri="{FF2B5EF4-FFF2-40B4-BE49-F238E27FC236}">
                <a16:creationId xmlns:a16="http://schemas.microsoft.com/office/drawing/2014/main" id="{51753A4B-75A9-4D88-8540-4276940B2BC8}"/>
              </a:ext>
            </a:extLst>
          </p:cNvPr>
          <p:cNvSpPr txBox="1"/>
          <p:nvPr/>
        </p:nvSpPr>
        <p:spPr>
          <a:xfrm>
            <a:off x="1536919" y="723119"/>
            <a:ext cx="3949475" cy="1043363"/>
          </a:xfrm>
          <a:prstGeom prst="wedgeRectCallout">
            <a:avLst>
              <a:gd name="adj1" fmla="val 38589"/>
              <a:gd name="adj2" fmla="val 76728"/>
            </a:avLst>
          </a:prstGeom>
          <a:solidFill>
            <a:schemeClr val="accent1"/>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How do I address here and now need and prioritize next set of IT priorities?</a:t>
            </a:r>
          </a:p>
        </p:txBody>
      </p:sp>
      <p:sp>
        <p:nvSpPr>
          <p:cNvPr id="5" name="TextBox 4">
            <a:extLst>
              <a:ext uri="{FF2B5EF4-FFF2-40B4-BE49-F238E27FC236}">
                <a16:creationId xmlns:a16="http://schemas.microsoft.com/office/drawing/2014/main" id="{D1E4267F-A350-4C37-92BF-EBDB4FFAAC13}"/>
              </a:ext>
            </a:extLst>
          </p:cNvPr>
          <p:cNvSpPr txBox="1"/>
          <p:nvPr/>
        </p:nvSpPr>
        <p:spPr>
          <a:xfrm>
            <a:off x="7920999" y="5044440"/>
            <a:ext cx="3787585" cy="1043363"/>
          </a:xfrm>
          <a:prstGeom prst="wedgeRectCallout">
            <a:avLst>
              <a:gd name="adj1" fmla="val -65074"/>
              <a:gd name="adj2" fmla="val -49334"/>
            </a:avLst>
          </a:prstGeom>
          <a:solidFill>
            <a:schemeClr val="accent1"/>
          </a:solidFill>
          <a:ln>
            <a:noFill/>
          </a:ln>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will my staff adapt to the steep learning curve with new technologies? </a:t>
            </a:r>
          </a:p>
        </p:txBody>
      </p:sp>
      <p:sp>
        <p:nvSpPr>
          <p:cNvPr id="6" name="Speech Bubble: Rectangle 5">
            <a:extLst>
              <a:ext uri="{FF2B5EF4-FFF2-40B4-BE49-F238E27FC236}">
                <a16:creationId xmlns:a16="http://schemas.microsoft.com/office/drawing/2014/main" id="{CC63E657-96A2-4F0D-A36A-B569779170C4}"/>
              </a:ext>
            </a:extLst>
          </p:cNvPr>
          <p:cNvSpPr/>
          <p:nvPr/>
        </p:nvSpPr>
        <p:spPr bwMode="auto">
          <a:xfrm>
            <a:off x="893617" y="5114279"/>
            <a:ext cx="3911745" cy="918899"/>
          </a:xfrm>
          <a:prstGeom prst="wedgeRectCallout">
            <a:avLst>
              <a:gd name="adj1" fmla="val 22080"/>
              <a:gd name="adj2" fmla="val -9664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a:ea typeface="+mn-ea"/>
                <a:cs typeface="+mn-cs"/>
              </a:rPr>
              <a:t>How do I build the case to invest in the right areas so we’re better prepared for next time? </a:t>
            </a:r>
          </a:p>
        </p:txBody>
      </p:sp>
      <p:sp>
        <p:nvSpPr>
          <p:cNvPr id="7" name="Speech Bubble: Rectangle 6">
            <a:extLst>
              <a:ext uri="{FF2B5EF4-FFF2-40B4-BE49-F238E27FC236}">
                <a16:creationId xmlns:a16="http://schemas.microsoft.com/office/drawing/2014/main" id="{01FD0942-D727-49ED-B6F9-1BBFE055C200}"/>
              </a:ext>
            </a:extLst>
          </p:cNvPr>
          <p:cNvSpPr/>
          <p:nvPr/>
        </p:nvSpPr>
        <p:spPr bwMode="auto">
          <a:xfrm>
            <a:off x="8279552" y="2734923"/>
            <a:ext cx="3836248" cy="834156"/>
          </a:xfrm>
          <a:prstGeom prst="wedgeRectCallout">
            <a:avLst>
              <a:gd name="adj1" fmla="val -45690"/>
              <a:gd name="adj2" fmla="val 86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How can I secure my network and assets from attackers during these already tough times?</a:t>
            </a:r>
          </a:p>
        </p:txBody>
      </p:sp>
    </p:spTree>
    <p:extLst>
      <p:ext uri="{BB962C8B-B14F-4D97-AF65-F5344CB8AC3E}">
        <p14:creationId xmlns:p14="http://schemas.microsoft.com/office/powerpoint/2010/main" val="206412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a:solidFill>
                  <a:srgbClr val="50E6FF"/>
                </a:solidFill>
                <a:ea typeface="+mn-ea"/>
                <a:cs typeface="+mn-cs"/>
              </a:rPr>
              <a:t>No migration is ever linear or simple </a:t>
            </a:r>
            <a:br>
              <a:rPr lang="en-US">
                <a:solidFill>
                  <a:srgbClr val="50E6FF"/>
                </a:solidFill>
                <a:ea typeface="+mn-ea"/>
                <a:cs typeface="+mn-cs"/>
              </a:rPr>
            </a:br>
            <a:r>
              <a:rPr lang="en-US" sz="2000">
                <a:solidFill>
                  <a:srgbClr val="FFFFFF"/>
                </a:solidFill>
                <a:ea typeface="+mn-ea"/>
                <a:cs typeface="+mn-cs"/>
              </a:rPr>
              <a:t>Drawn from 100s of engagements by FastTrack for Azure </a:t>
            </a:r>
            <a:r>
              <a:rPr lang="en-US" sz="3528">
                <a:solidFill>
                  <a:prstClr val="white"/>
                </a:solidFill>
                <a:ea typeface="+mn-ea"/>
                <a:cs typeface="+mn-cs"/>
              </a:rPr>
              <a:t/>
            </a:r>
            <a:br>
              <a:rPr lang="en-US" sz="3528">
                <a:solidFill>
                  <a:prstClr val="white"/>
                </a:solidFill>
                <a:ea typeface="+mn-ea"/>
                <a:cs typeface="+mn-cs"/>
              </a:rPr>
            </a:br>
            <a:endParaRPr lang="en-US"/>
          </a:p>
        </p:txBody>
      </p:sp>
      <p:sp>
        <p:nvSpPr>
          <p:cNvPr id="239" name="Freeform: Shape 238" descr="Migration factory offering">
            <a:extLst>
              <a:ext uri="{FF2B5EF4-FFF2-40B4-BE49-F238E27FC236}">
                <a16:creationId xmlns:a16="http://schemas.microsoft.com/office/drawing/2014/main" id="{8CA57EEF-A414-4AEC-A23F-6EA36658A8E3}"/>
              </a:ext>
            </a:extLst>
          </p:cNvPr>
          <p:cNvSpPr/>
          <p:nvPr/>
        </p:nvSpPr>
        <p:spPr>
          <a:xfrm rot="10800000" flipH="1" flipV="1">
            <a:off x="1493565" y="5776995"/>
            <a:ext cx="767465" cy="768169"/>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4878 h 768169"/>
              <a:gd name="connsiteX7" fmla="*/ 745974 w 745974"/>
              <a:gd name="connsiteY7" fmla="*/ 0 h 768169"/>
              <a:gd name="connsiteX8" fmla="*/ 738884 w 745974"/>
              <a:gd name="connsiteY8" fmla="*/ 768169 h 768169"/>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116 h 768169"/>
              <a:gd name="connsiteX7" fmla="*/ 745974 w 745974"/>
              <a:gd name="connsiteY7" fmla="*/ 0 h 768169"/>
              <a:gd name="connsiteX8" fmla="*/ 738884 w 745974"/>
              <a:gd name="connsiteY8" fmla="*/ 768169 h 768169"/>
              <a:gd name="connsiteX0" fmla="*/ 746179 w 753269"/>
              <a:gd name="connsiteY0" fmla="*/ 768169 h 768169"/>
              <a:gd name="connsiteX1" fmla="*/ 396955 w 753269"/>
              <a:gd name="connsiteY1" fmla="*/ 768169 h 768169"/>
              <a:gd name="connsiteX2" fmla="*/ 7295 w 753269"/>
              <a:gd name="connsiteY2" fmla="*/ 378509 h 768169"/>
              <a:gd name="connsiteX3" fmla="*/ 7297 w 753269"/>
              <a:gd name="connsiteY3" fmla="*/ 378509 h 768169"/>
              <a:gd name="connsiteX4" fmla="*/ 10979 w 753269"/>
              <a:gd name="connsiteY4" fmla="*/ 360266 h 768169"/>
              <a:gd name="connsiteX5" fmla="*/ 7297 w 753269"/>
              <a:gd name="connsiteY5" fmla="*/ 342026 h 768169"/>
              <a:gd name="connsiteX6" fmla="*/ 0 w 753269"/>
              <a:gd name="connsiteY6" fmla="*/ 116 h 768169"/>
              <a:gd name="connsiteX7" fmla="*/ 753269 w 753269"/>
              <a:gd name="connsiteY7" fmla="*/ 0 h 768169"/>
              <a:gd name="connsiteX8" fmla="*/ 746179 w 753269"/>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269" h="768169">
                <a:moveTo>
                  <a:pt x="746179" y="768169"/>
                </a:moveTo>
                <a:lnTo>
                  <a:pt x="396955" y="768169"/>
                </a:lnTo>
                <a:cubicBezTo>
                  <a:pt x="181752" y="768169"/>
                  <a:pt x="7295" y="593712"/>
                  <a:pt x="7295" y="378509"/>
                </a:cubicBezTo>
                <a:lnTo>
                  <a:pt x="7297" y="378509"/>
                </a:lnTo>
                <a:lnTo>
                  <a:pt x="10979" y="360266"/>
                </a:lnTo>
                <a:lnTo>
                  <a:pt x="7297" y="342026"/>
                </a:lnTo>
                <a:lnTo>
                  <a:pt x="0" y="116"/>
                </a:lnTo>
                <a:lnTo>
                  <a:pt x="753269" y="0"/>
                </a:lnTo>
                <a:cubicBezTo>
                  <a:pt x="750906" y="256056"/>
                  <a:pt x="748542" y="512113"/>
                  <a:pt x="746179" y="768169"/>
                </a:cubicBez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AD7E46A5-3111-44EA-A460-2B8DCDC46683}"/>
              </a:ext>
              <a:ext uri="{C183D7F6-B498-43B3-948B-1728B52AA6E4}">
                <adec:decorative xmlns:adec="http://schemas.microsoft.com/office/drawing/2017/decorative" xmlns="" val="1"/>
              </a:ext>
            </a:extLst>
          </p:cNvPr>
          <p:cNvSpPr/>
          <p:nvPr/>
        </p:nvSpPr>
        <p:spPr>
          <a:xfrm rot="10800000">
            <a:off x="3470563" y="1709678"/>
            <a:ext cx="786560" cy="763593"/>
          </a:xfrm>
          <a:custGeom>
            <a:avLst/>
            <a:gdLst>
              <a:gd name="connsiteX0" fmla="*/ 562649 w 952309"/>
              <a:gd name="connsiteY0" fmla="*/ 786903 h 786903"/>
              <a:gd name="connsiteX1" fmla="*/ 0 w 952309"/>
              <a:gd name="connsiteY1" fmla="*/ 786903 h 786903"/>
              <a:gd name="connsiteX2" fmla="*/ 116686 w 952309"/>
              <a:gd name="connsiteY2" fmla="*/ 7584 h 786903"/>
              <a:gd name="connsiteX3" fmla="*/ 172990 w 952309"/>
              <a:gd name="connsiteY3" fmla="*/ 7584 h 786903"/>
              <a:gd name="connsiteX4" fmla="*/ 172990 w 952309"/>
              <a:gd name="connsiteY4" fmla="*/ 0 h 786903"/>
              <a:gd name="connsiteX5" fmla="*/ 952308 w 952309"/>
              <a:gd name="connsiteY5" fmla="*/ 182809 h 786903"/>
              <a:gd name="connsiteX6" fmla="*/ 952308 w 952309"/>
              <a:gd name="connsiteY6" fmla="*/ 397240 h 786903"/>
              <a:gd name="connsiteX7" fmla="*/ 952309 w 952309"/>
              <a:gd name="connsiteY7" fmla="*/ 397244 h 786903"/>
              <a:gd name="connsiteX8" fmla="*/ 952302 w 952309"/>
              <a:gd name="connsiteY8" fmla="*/ 397278 h 786903"/>
              <a:gd name="connsiteX9" fmla="*/ 928664 w 952309"/>
              <a:gd name="connsiteY9" fmla="*/ 531221 h 786903"/>
              <a:gd name="connsiteX10" fmla="*/ 923412 w 952309"/>
              <a:gd name="connsiteY10" fmla="*/ 540374 h 786903"/>
              <a:gd name="connsiteX11" fmla="*/ 921688 w 952309"/>
              <a:gd name="connsiteY11" fmla="*/ 548916 h 786903"/>
              <a:gd name="connsiteX12" fmla="*/ 885761 w 952309"/>
              <a:gd name="connsiteY12" fmla="*/ 615106 h 786903"/>
              <a:gd name="connsiteX13" fmla="*/ 868618 w 952309"/>
              <a:gd name="connsiteY13" fmla="*/ 635884 h 786903"/>
              <a:gd name="connsiteX14" fmla="*/ 863329 w 952309"/>
              <a:gd name="connsiteY14" fmla="*/ 645102 h 786903"/>
              <a:gd name="connsiteX15" fmla="*/ 848378 w 952309"/>
              <a:gd name="connsiteY15" fmla="*/ 660414 h 786903"/>
              <a:gd name="connsiteX16" fmla="*/ 838180 w 952309"/>
              <a:gd name="connsiteY16" fmla="*/ 672774 h 786903"/>
              <a:gd name="connsiteX17" fmla="*/ 828557 w 952309"/>
              <a:gd name="connsiteY17" fmla="*/ 680714 h 786903"/>
              <a:gd name="connsiteX18" fmla="*/ 817652 w 952309"/>
              <a:gd name="connsiteY18" fmla="*/ 691883 h 786903"/>
              <a:gd name="connsiteX19" fmla="*/ 795026 w 952309"/>
              <a:gd name="connsiteY19" fmla="*/ 708380 h 786903"/>
              <a:gd name="connsiteX20" fmla="*/ 780512 w 952309"/>
              <a:gd name="connsiteY20" fmla="*/ 720355 h 786903"/>
              <a:gd name="connsiteX21" fmla="*/ 773037 w 952309"/>
              <a:gd name="connsiteY21" fmla="*/ 724412 h 786903"/>
              <a:gd name="connsiteX22" fmla="*/ 764701 w 952309"/>
              <a:gd name="connsiteY22" fmla="*/ 730490 h 786903"/>
              <a:gd name="connsiteX23" fmla="*/ 731090 w 952309"/>
              <a:gd name="connsiteY23" fmla="*/ 747180 h 786903"/>
              <a:gd name="connsiteX24" fmla="*/ 714322 w 952309"/>
              <a:gd name="connsiteY24" fmla="*/ 756282 h 786903"/>
              <a:gd name="connsiteX25" fmla="*/ 710160 w 952309"/>
              <a:gd name="connsiteY25" fmla="*/ 757574 h 786903"/>
              <a:gd name="connsiteX26" fmla="*/ 705527 w 952309"/>
              <a:gd name="connsiteY26" fmla="*/ 759874 h 786903"/>
              <a:gd name="connsiteX27" fmla="*/ 641231 w 952309"/>
              <a:gd name="connsiteY27" fmla="*/ 778970 h 786903"/>
              <a:gd name="connsiteX28" fmla="*/ 641179 w 952309"/>
              <a:gd name="connsiteY28" fmla="*/ 778987 h 786903"/>
              <a:gd name="connsiteX29" fmla="*/ 562649 w 952309"/>
              <a:gd name="connsiteY29" fmla="*/ 786903 h 786903"/>
              <a:gd name="connsiteX0" fmla="*/ 463258 w 852918"/>
              <a:gd name="connsiteY0" fmla="*/ 786903 h 786903"/>
              <a:gd name="connsiteX1" fmla="*/ 0 w 852918"/>
              <a:gd name="connsiteY1" fmla="*/ 786903 h 786903"/>
              <a:gd name="connsiteX2" fmla="*/ 17295 w 852918"/>
              <a:gd name="connsiteY2" fmla="*/ 7584 h 786903"/>
              <a:gd name="connsiteX3" fmla="*/ 73599 w 852918"/>
              <a:gd name="connsiteY3" fmla="*/ 7584 h 786903"/>
              <a:gd name="connsiteX4" fmla="*/ 73599 w 852918"/>
              <a:gd name="connsiteY4" fmla="*/ 0 h 786903"/>
              <a:gd name="connsiteX5" fmla="*/ 852917 w 852918"/>
              <a:gd name="connsiteY5" fmla="*/ 182809 h 786903"/>
              <a:gd name="connsiteX6" fmla="*/ 852917 w 852918"/>
              <a:gd name="connsiteY6" fmla="*/ 397240 h 786903"/>
              <a:gd name="connsiteX7" fmla="*/ 852918 w 852918"/>
              <a:gd name="connsiteY7" fmla="*/ 397244 h 786903"/>
              <a:gd name="connsiteX8" fmla="*/ 852911 w 852918"/>
              <a:gd name="connsiteY8" fmla="*/ 397278 h 786903"/>
              <a:gd name="connsiteX9" fmla="*/ 829273 w 852918"/>
              <a:gd name="connsiteY9" fmla="*/ 531221 h 786903"/>
              <a:gd name="connsiteX10" fmla="*/ 824021 w 852918"/>
              <a:gd name="connsiteY10" fmla="*/ 540374 h 786903"/>
              <a:gd name="connsiteX11" fmla="*/ 822297 w 852918"/>
              <a:gd name="connsiteY11" fmla="*/ 548916 h 786903"/>
              <a:gd name="connsiteX12" fmla="*/ 786370 w 852918"/>
              <a:gd name="connsiteY12" fmla="*/ 615106 h 786903"/>
              <a:gd name="connsiteX13" fmla="*/ 769227 w 852918"/>
              <a:gd name="connsiteY13" fmla="*/ 635884 h 786903"/>
              <a:gd name="connsiteX14" fmla="*/ 763938 w 852918"/>
              <a:gd name="connsiteY14" fmla="*/ 645102 h 786903"/>
              <a:gd name="connsiteX15" fmla="*/ 748987 w 852918"/>
              <a:gd name="connsiteY15" fmla="*/ 660414 h 786903"/>
              <a:gd name="connsiteX16" fmla="*/ 738789 w 852918"/>
              <a:gd name="connsiteY16" fmla="*/ 672774 h 786903"/>
              <a:gd name="connsiteX17" fmla="*/ 729166 w 852918"/>
              <a:gd name="connsiteY17" fmla="*/ 680714 h 786903"/>
              <a:gd name="connsiteX18" fmla="*/ 718261 w 852918"/>
              <a:gd name="connsiteY18" fmla="*/ 691883 h 786903"/>
              <a:gd name="connsiteX19" fmla="*/ 695635 w 852918"/>
              <a:gd name="connsiteY19" fmla="*/ 708380 h 786903"/>
              <a:gd name="connsiteX20" fmla="*/ 681121 w 852918"/>
              <a:gd name="connsiteY20" fmla="*/ 720355 h 786903"/>
              <a:gd name="connsiteX21" fmla="*/ 673646 w 852918"/>
              <a:gd name="connsiteY21" fmla="*/ 724412 h 786903"/>
              <a:gd name="connsiteX22" fmla="*/ 665310 w 852918"/>
              <a:gd name="connsiteY22" fmla="*/ 730490 h 786903"/>
              <a:gd name="connsiteX23" fmla="*/ 631699 w 852918"/>
              <a:gd name="connsiteY23" fmla="*/ 747180 h 786903"/>
              <a:gd name="connsiteX24" fmla="*/ 614931 w 852918"/>
              <a:gd name="connsiteY24" fmla="*/ 756282 h 786903"/>
              <a:gd name="connsiteX25" fmla="*/ 610769 w 852918"/>
              <a:gd name="connsiteY25" fmla="*/ 757574 h 786903"/>
              <a:gd name="connsiteX26" fmla="*/ 606136 w 852918"/>
              <a:gd name="connsiteY26" fmla="*/ 759874 h 786903"/>
              <a:gd name="connsiteX27" fmla="*/ 541840 w 852918"/>
              <a:gd name="connsiteY27" fmla="*/ 778970 h 786903"/>
              <a:gd name="connsiteX28" fmla="*/ 541788 w 852918"/>
              <a:gd name="connsiteY28" fmla="*/ 778987 h 786903"/>
              <a:gd name="connsiteX29" fmla="*/ 463258 w 852918"/>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5622 w 835623"/>
              <a:gd name="connsiteY5" fmla="*/ 182809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86903 h 786903"/>
              <a:gd name="connsiteX1" fmla="*/ 122 w 835623"/>
              <a:gd name="connsiteY1" fmla="*/ 786903 h 786903"/>
              <a:gd name="connsiteX2" fmla="*/ 0 w 835623"/>
              <a:gd name="connsiteY2" fmla="*/ 7584 h 786903"/>
              <a:gd name="connsiteX3" fmla="*/ 56304 w 835623"/>
              <a:gd name="connsiteY3" fmla="*/ 7584 h 786903"/>
              <a:gd name="connsiteX4" fmla="*/ 56304 w 835623"/>
              <a:gd name="connsiteY4" fmla="*/ 0 h 786903"/>
              <a:gd name="connsiteX5" fmla="*/ 831503 w 835623"/>
              <a:gd name="connsiteY5" fmla="*/ 13934 h 786903"/>
              <a:gd name="connsiteX6" fmla="*/ 835622 w 835623"/>
              <a:gd name="connsiteY6" fmla="*/ 397240 h 786903"/>
              <a:gd name="connsiteX7" fmla="*/ 835623 w 835623"/>
              <a:gd name="connsiteY7" fmla="*/ 397244 h 786903"/>
              <a:gd name="connsiteX8" fmla="*/ 835616 w 835623"/>
              <a:gd name="connsiteY8" fmla="*/ 397278 h 786903"/>
              <a:gd name="connsiteX9" fmla="*/ 811978 w 835623"/>
              <a:gd name="connsiteY9" fmla="*/ 531221 h 786903"/>
              <a:gd name="connsiteX10" fmla="*/ 806726 w 835623"/>
              <a:gd name="connsiteY10" fmla="*/ 540374 h 786903"/>
              <a:gd name="connsiteX11" fmla="*/ 805002 w 835623"/>
              <a:gd name="connsiteY11" fmla="*/ 548916 h 786903"/>
              <a:gd name="connsiteX12" fmla="*/ 769075 w 835623"/>
              <a:gd name="connsiteY12" fmla="*/ 615106 h 786903"/>
              <a:gd name="connsiteX13" fmla="*/ 751932 w 835623"/>
              <a:gd name="connsiteY13" fmla="*/ 635884 h 786903"/>
              <a:gd name="connsiteX14" fmla="*/ 746643 w 835623"/>
              <a:gd name="connsiteY14" fmla="*/ 645102 h 786903"/>
              <a:gd name="connsiteX15" fmla="*/ 731692 w 835623"/>
              <a:gd name="connsiteY15" fmla="*/ 660414 h 786903"/>
              <a:gd name="connsiteX16" fmla="*/ 721494 w 835623"/>
              <a:gd name="connsiteY16" fmla="*/ 672774 h 786903"/>
              <a:gd name="connsiteX17" fmla="*/ 711871 w 835623"/>
              <a:gd name="connsiteY17" fmla="*/ 680714 h 786903"/>
              <a:gd name="connsiteX18" fmla="*/ 700966 w 835623"/>
              <a:gd name="connsiteY18" fmla="*/ 691883 h 786903"/>
              <a:gd name="connsiteX19" fmla="*/ 678340 w 835623"/>
              <a:gd name="connsiteY19" fmla="*/ 708380 h 786903"/>
              <a:gd name="connsiteX20" fmla="*/ 663826 w 835623"/>
              <a:gd name="connsiteY20" fmla="*/ 720355 h 786903"/>
              <a:gd name="connsiteX21" fmla="*/ 656351 w 835623"/>
              <a:gd name="connsiteY21" fmla="*/ 724412 h 786903"/>
              <a:gd name="connsiteX22" fmla="*/ 648015 w 835623"/>
              <a:gd name="connsiteY22" fmla="*/ 730490 h 786903"/>
              <a:gd name="connsiteX23" fmla="*/ 614404 w 835623"/>
              <a:gd name="connsiteY23" fmla="*/ 747180 h 786903"/>
              <a:gd name="connsiteX24" fmla="*/ 597636 w 835623"/>
              <a:gd name="connsiteY24" fmla="*/ 756282 h 786903"/>
              <a:gd name="connsiteX25" fmla="*/ 593474 w 835623"/>
              <a:gd name="connsiteY25" fmla="*/ 757574 h 786903"/>
              <a:gd name="connsiteX26" fmla="*/ 588841 w 835623"/>
              <a:gd name="connsiteY26" fmla="*/ 759874 h 786903"/>
              <a:gd name="connsiteX27" fmla="*/ 524545 w 835623"/>
              <a:gd name="connsiteY27" fmla="*/ 778970 h 786903"/>
              <a:gd name="connsiteX28" fmla="*/ 524493 w 835623"/>
              <a:gd name="connsiteY28" fmla="*/ 778987 h 786903"/>
              <a:gd name="connsiteX29" fmla="*/ 445963 w 835623"/>
              <a:gd name="connsiteY29" fmla="*/ 786903 h 786903"/>
              <a:gd name="connsiteX0" fmla="*/ 445963 w 835623"/>
              <a:gd name="connsiteY0" fmla="*/ 779319 h 779319"/>
              <a:gd name="connsiteX1" fmla="*/ 122 w 835623"/>
              <a:gd name="connsiteY1" fmla="*/ 779319 h 779319"/>
              <a:gd name="connsiteX2" fmla="*/ 0 w 835623"/>
              <a:gd name="connsiteY2" fmla="*/ 0 h 779319"/>
              <a:gd name="connsiteX3" fmla="*/ 56304 w 835623"/>
              <a:gd name="connsiteY3" fmla="*/ 0 h 779319"/>
              <a:gd name="connsiteX4" fmla="*/ 831503 w 835623"/>
              <a:gd name="connsiteY4" fmla="*/ 6350 h 779319"/>
              <a:gd name="connsiteX5" fmla="*/ 835622 w 835623"/>
              <a:gd name="connsiteY5" fmla="*/ 389656 h 779319"/>
              <a:gd name="connsiteX6" fmla="*/ 835623 w 835623"/>
              <a:gd name="connsiteY6" fmla="*/ 389660 h 779319"/>
              <a:gd name="connsiteX7" fmla="*/ 835616 w 835623"/>
              <a:gd name="connsiteY7" fmla="*/ 389694 h 779319"/>
              <a:gd name="connsiteX8" fmla="*/ 811978 w 835623"/>
              <a:gd name="connsiteY8" fmla="*/ 523637 h 779319"/>
              <a:gd name="connsiteX9" fmla="*/ 806726 w 835623"/>
              <a:gd name="connsiteY9" fmla="*/ 532790 h 779319"/>
              <a:gd name="connsiteX10" fmla="*/ 805002 w 835623"/>
              <a:gd name="connsiteY10" fmla="*/ 541332 h 779319"/>
              <a:gd name="connsiteX11" fmla="*/ 769075 w 835623"/>
              <a:gd name="connsiteY11" fmla="*/ 607522 h 779319"/>
              <a:gd name="connsiteX12" fmla="*/ 751932 w 835623"/>
              <a:gd name="connsiteY12" fmla="*/ 628300 h 779319"/>
              <a:gd name="connsiteX13" fmla="*/ 746643 w 835623"/>
              <a:gd name="connsiteY13" fmla="*/ 637518 h 779319"/>
              <a:gd name="connsiteX14" fmla="*/ 731692 w 835623"/>
              <a:gd name="connsiteY14" fmla="*/ 652830 h 779319"/>
              <a:gd name="connsiteX15" fmla="*/ 721494 w 835623"/>
              <a:gd name="connsiteY15" fmla="*/ 665190 h 779319"/>
              <a:gd name="connsiteX16" fmla="*/ 711871 w 835623"/>
              <a:gd name="connsiteY16" fmla="*/ 673130 h 779319"/>
              <a:gd name="connsiteX17" fmla="*/ 700966 w 835623"/>
              <a:gd name="connsiteY17" fmla="*/ 684299 h 779319"/>
              <a:gd name="connsiteX18" fmla="*/ 678340 w 835623"/>
              <a:gd name="connsiteY18" fmla="*/ 700796 h 779319"/>
              <a:gd name="connsiteX19" fmla="*/ 663826 w 835623"/>
              <a:gd name="connsiteY19" fmla="*/ 712771 h 779319"/>
              <a:gd name="connsiteX20" fmla="*/ 656351 w 835623"/>
              <a:gd name="connsiteY20" fmla="*/ 716828 h 779319"/>
              <a:gd name="connsiteX21" fmla="*/ 648015 w 835623"/>
              <a:gd name="connsiteY21" fmla="*/ 722906 h 779319"/>
              <a:gd name="connsiteX22" fmla="*/ 614404 w 835623"/>
              <a:gd name="connsiteY22" fmla="*/ 739596 h 779319"/>
              <a:gd name="connsiteX23" fmla="*/ 597636 w 835623"/>
              <a:gd name="connsiteY23" fmla="*/ 748698 h 779319"/>
              <a:gd name="connsiteX24" fmla="*/ 593474 w 835623"/>
              <a:gd name="connsiteY24" fmla="*/ 749990 h 779319"/>
              <a:gd name="connsiteX25" fmla="*/ 588841 w 835623"/>
              <a:gd name="connsiteY25" fmla="*/ 752290 h 779319"/>
              <a:gd name="connsiteX26" fmla="*/ 524545 w 835623"/>
              <a:gd name="connsiteY26" fmla="*/ 771386 h 779319"/>
              <a:gd name="connsiteX27" fmla="*/ 524493 w 835623"/>
              <a:gd name="connsiteY27" fmla="*/ 771403 h 779319"/>
              <a:gd name="connsiteX28" fmla="*/ 445963 w 835623"/>
              <a:gd name="connsiteY28" fmla="*/ 779319 h 779319"/>
              <a:gd name="connsiteX0" fmla="*/ 445963 w 835623"/>
              <a:gd name="connsiteY0" fmla="*/ 779319 h 779319"/>
              <a:gd name="connsiteX1" fmla="*/ 122 w 835623"/>
              <a:gd name="connsiteY1" fmla="*/ 779319 h 779319"/>
              <a:gd name="connsiteX2" fmla="*/ 0 w 835623"/>
              <a:gd name="connsiteY2" fmla="*/ 0 h 779319"/>
              <a:gd name="connsiteX3" fmla="*/ 831503 w 835623"/>
              <a:gd name="connsiteY3" fmla="*/ 6350 h 779319"/>
              <a:gd name="connsiteX4" fmla="*/ 835622 w 835623"/>
              <a:gd name="connsiteY4" fmla="*/ 389656 h 779319"/>
              <a:gd name="connsiteX5" fmla="*/ 835623 w 835623"/>
              <a:gd name="connsiteY5" fmla="*/ 389660 h 779319"/>
              <a:gd name="connsiteX6" fmla="*/ 835616 w 835623"/>
              <a:gd name="connsiteY6" fmla="*/ 389694 h 779319"/>
              <a:gd name="connsiteX7" fmla="*/ 811978 w 835623"/>
              <a:gd name="connsiteY7" fmla="*/ 523637 h 779319"/>
              <a:gd name="connsiteX8" fmla="*/ 806726 w 835623"/>
              <a:gd name="connsiteY8" fmla="*/ 532790 h 779319"/>
              <a:gd name="connsiteX9" fmla="*/ 805002 w 835623"/>
              <a:gd name="connsiteY9" fmla="*/ 541332 h 779319"/>
              <a:gd name="connsiteX10" fmla="*/ 769075 w 835623"/>
              <a:gd name="connsiteY10" fmla="*/ 607522 h 779319"/>
              <a:gd name="connsiteX11" fmla="*/ 751932 w 835623"/>
              <a:gd name="connsiteY11" fmla="*/ 628300 h 779319"/>
              <a:gd name="connsiteX12" fmla="*/ 746643 w 835623"/>
              <a:gd name="connsiteY12" fmla="*/ 637518 h 779319"/>
              <a:gd name="connsiteX13" fmla="*/ 731692 w 835623"/>
              <a:gd name="connsiteY13" fmla="*/ 652830 h 779319"/>
              <a:gd name="connsiteX14" fmla="*/ 721494 w 835623"/>
              <a:gd name="connsiteY14" fmla="*/ 665190 h 779319"/>
              <a:gd name="connsiteX15" fmla="*/ 711871 w 835623"/>
              <a:gd name="connsiteY15" fmla="*/ 673130 h 779319"/>
              <a:gd name="connsiteX16" fmla="*/ 700966 w 835623"/>
              <a:gd name="connsiteY16" fmla="*/ 684299 h 779319"/>
              <a:gd name="connsiteX17" fmla="*/ 678340 w 835623"/>
              <a:gd name="connsiteY17" fmla="*/ 700796 h 779319"/>
              <a:gd name="connsiteX18" fmla="*/ 663826 w 835623"/>
              <a:gd name="connsiteY18" fmla="*/ 712771 h 779319"/>
              <a:gd name="connsiteX19" fmla="*/ 656351 w 835623"/>
              <a:gd name="connsiteY19" fmla="*/ 716828 h 779319"/>
              <a:gd name="connsiteX20" fmla="*/ 648015 w 835623"/>
              <a:gd name="connsiteY20" fmla="*/ 722906 h 779319"/>
              <a:gd name="connsiteX21" fmla="*/ 614404 w 835623"/>
              <a:gd name="connsiteY21" fmla="*/ 739596 h 779319"/>
              <a:gd name="connsiteX22" fmla="*/ 597636 w 835623"/>
              <a:gd name="connsiteY22" fmla="*/ 748698 h 779319"/>
              <a:gd name="connsiteX23" fmla="*/ 593474 w 835623"/>
              <a:gd name="connsiteY23" fmla="*/ 749990 h 779319"/>
              <a:gd name="connsiteX24" fmla="*/ 588841 w 835623"/>
              <a:gd name="connsiteY24" fmla="*/ 752290 h 779319"/>
              <a:gd name="connsiteX25" fmla="*/ 524545 w 835623"/>
              <a:gd name="connsiteY25" fmla="*/ 771386 h 779319"/>
              <a:gd name="connsiteX26" fmla="*/ 524493 w 835623"/>
              <a:gd name="connsiteY26" fmla="*/ 771403 h 779319"/>
              <a:gd name="connsiteX27" fmla="*/ 445963 w 835623"/>
              <a:gd name="connsiteY27" fmla="*/ 779319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5623" h="779319">
                <a:moveTo>
                  <a:pt x="445963" y="779319"/>
                </a:moveTo>
                <a:lnTo>
                  <a:pt x="122" y="779319"/>
                </a:lnTo>
                <a:cubicBezTo>
                  <a:pt x="81" y="519546"/>
                  <a:pt x="41" y="259773"/>
                  <a:pt x="0" y="0"/>
                </a:cubicBezTo>
                <a:lnTo>
                  <a:pt x="831503" y="6350"/>
                </a:lnTo>
                <a:cubicBezTo>
                  <a:pt x="831503" y="77827"/>
                  <a:pt x="835622" y="318179"/>
                  <a:pt x="835622" y="389656"/>
                </a:cubicBezTo>
                <a:cubicBezTo>
                  <a:pt x="835622" y="389657"/>
                  <a:pt x="835623" y="389659"/>
                  <a:pt x="835623" y="389660"/>
                </a:cubicBezTo>
                <a:cubicBezTo>
                  <a:pt x="835621" y="389671"/>
                  <a:pt x="835618" y="389683"/>
                  <a:pt x="835616" y="389694"/>
                </a:cubicBezTo>
                <a:lnTo>
                  <a:pt x="811978" y="523637"/>
                </a:lnTo>
                <a:lnTo>
                  <a:pt x="806726" y="532790"/>
                </a:lnTo>
                <a:lnTo>
                  <a:pt x="805002" y="541332"/>
                </a:lnTo>
                <a:cubicBezTo>
                  <a:pt x="795143" y="564641"/>
                  <a:pt x="783080" y="586792"/>
                  <a:pt x="769075" y="607522"/>
                </a:cubicBezTo>
                <a:lnTo>
                  <a:pt x="751932" y="628300"/>
                </a:lnTo>
                <a:lnTo>
                  <a:pt x="746643" y="637518"/>
                </a:lnTo>
                <a:lnTo>
                  <a:pt x="731692" y="652830"/>
                </a:lnTo>
                <a:lnTo>
                  <a:pt x="721494" y="665190"/>
                </a:lnTo>
                <a:lnTo>
                  <a:pt x="711871" y="673130"/>
                </a:lnTo>
                <a:lnTo>
                  <a:pt x="700966" y="684299"/>
                </a:lnTo>
                <a:lnTo>
                  <a:pt x="678340" y="700796"/>
                </a:lnTo>
                <a:lnTo>
                  <a:pt x="663826" y="712771"/>
                </a:lnTo>
                <a:lnTo>
                  <a:pt x="656351" y="716828"/>
                </a:lnTo>
                <a:lnTo>
                  <a:pt x="648015" y="722906"/>
                </a:lnTo>
                <a:lnTo>
                  <a:pt x="614404" y="739596"/>
                </a:lnTo>
                <a:lnTo>
                  <a:pt x="597636" y="748698"/>
                </a:lnTo>
                <a:lnTo>
                  <a:pt x="593474" y="749990"/>
                </a:lnTo>
                <a:lnTo>
                  <a:pt x="588841" y="752290"/>
                </a:lnTo>
                <a:lnTo>
                  <a:pt x="524545" y="771386"/>
                </a:lnTo>
                <a:cubicBezTo>
                  <a:pt x="524528" y="771392"/>
                  <a:pt x="524510" y="771397"/>
                  <a:pt x="524493" y="771403"/>
                </a:cubicBezTo>
                <a:cubicBezTo>
                  <a:pt x="499127" y="776593"/>
                  <a:pt x="472864" y="779319"/>
                  <a:pt x="445963" y="77931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9" name="Rectangle 598">
            <a:extLst>
              <a:ext uri="{FF2B5EF4-FFF2-40B4-BE49-F238E27FC236}">
                <a16:creationId xmlns:a16="http://schemas.microsoft.com/office/drawing/2014/main" id="{97415616-F092-4FBB-ADAC-018687D08929}"/>
              </a:ext>
              <a:ext uri="{C183D7F6-B498-43B3-948B-1728B52AA6E4}">
                <adec:decorative xmlns:adec="http://schemas.microsoft.com/office/drawing/2017/decorative" xmlns="" val="1"/>
              </a:ext>
            </a:extLst>
          </p:cNvPr>
          <p:cNvSpPr/>
          <p:nvPr/>
        </p:nvSpPr>
        <p:spPr>
          <a:xfrm rot="10800000">
            <a:off x="4288615" y="1709681"/>
            <a:ext cx="798802" cy="77932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8" name="Freeform: Shape 597">
            <a:extLst>
              <a:ext uri="{FF2B5EF4-FFF2-40B4-BE49-F238E27FC236}">
                <a16:creationId xmlns:a16="http://schemas.microsoft.com/office/drawing/2014/main" id="{39CEC0FA-90DD-4BC6-B4C0-40C7FC6A3345}"/>
              </a:ext>
              <a:ext uri="{C183D7F6-B498-43B3-948B-1728B52AA6E4}">
                <adec:decorative xmlns:adec="http://schemas.microsoft.com/office/drawing/2017/decorative" xmlns="" val="1"/>
              </a:ext>
            </a:extLst>
          </p:cNvPr>
          <p:cNvSpPr/>
          <p:nvPr/>
        </p:nvSpPr>
        <p:spPr>
          <a:xfrm rot="10800000">
            <a:off x="5121500" y="1709681"/>
            <a:ext cx="871288" cy="779320"/>
          </a:xfrm>
          <a:custGeom>
            <a:avLst/>
            <a:gdLst>
              <a:gd name="connsiteX0" fmla="*/ 832630 w 832630"/>
              <a:gd name="connsiteY0" fmla="*/ 779320 h 779320"/>
              <a:gd name="connsiteX1" fmla="*/ 46716 w 832630"/>
              <a:gd name="connsiteY1" fmla="*/ 779320 h 779320"/>
              <a:gd name="connsiteX2" fmla="*/ 0 w 832630"/>
              <a:gd name="connsiteY2" fmla="*/ 774610 h 779320"/>
              <a:gd name="connsiteX3" fmla="*/ 470455 w 832630"/>
              <a:gd name="connsiteY3" fmla="*/ 0 h 779320"/>
              <a:gd name="connsiteX4" fmla="*/ 832630 w 832630"/>
              <a:gd name="connsiteY4" fmla="*/ 0 h 779320"/>
              <a:gd name="connsiteX5" fmla="*/ 832630 w 832630"/>
              <a:gd name="connsiteY5" fmla="*/ 779320 h 779320"/>
              <a:gd name="connsiteX0" fmla="*/ 832630 w 832630"/>
              <a:gd name="connsiteY0" fmla="*/ 779320 h 779320"/>
              <a:gd name="connsiteX1" fmla="*/ 46716 w 832630"/>
              <a:gd name="connsiteY1" fmla="*/ 779320 h 779320"/>
              <a:gd name="connsiteX2" fmla="*/ 0 w 832630"/>
              <a:gd name="connsiteY2" fmla="*/ 774610 h 779320"/>
              <a:gd name="connsiteX3" fmla="*/ 446839 w 832630"/>
              <a:gd name="connsiteY3" fmla="*/ 0 h 779320"/>
              <a:gd name="connsiteX4" fmla="*/ 832630 w 832630"/>
              <a:gd name="connsiteY4" fmla="*/ 0 h 779320"/>
              <a:gd name="connsiteX5" fmla="*/ 832630 w 832630"/>
              <a:gd name="connsiteY5" fmla="*/ 779320 h 77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630" h="779320">
                <a:moveTo>
                  <a:pt x="832630" y="779320"/>
                </a:moveTo>
                <a:lnTo>
                  <a:pt x="46716" y="779320"/>
                </a:lnTo>
                <a:lnTo>
                  <a:pt x="0" y="774610"/>
                </a:lnTo>
                <a:lnTo>
                  <a:pt x="446839" y="0"/>
                </a:lnTo>
                <a:lnTo>
                  <a:pt x="832630" y="0"/>
                </a:lnTo>
                <a:lnTo>
                  <a:pt x="832630" y="779320"/>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D8DFF245-F74F-459F-ADDD-4DE556ECB2D7}"/>
              </a:ext>
              <a:ext uri="{C183D7F6-B498-43B3-948B-1728B52AA6E4}">
                <adec:decorative xmlns:adec="http://schemas.microsoft.com/office/drawing/2017/decorative" xmlns="" val="1"/>
              </a:ext>
            </a:extLst>
          </p:cNvPr>
          <p:cNvSpPr/>
          <p:nvPr/>
        </p:nvSpPr>
        <p:spPr>
          <a:xfrm rot="10800000">
            <a:off x="5554428" y="1717440"/>
            <a:ext cx="781304" cy="928119"/>
          </a:xfrm>
          <a:custGeom>
            <a:avLst/>
            <a:gdLst>
              <a:gd name="connsiteX0" fmla="*/ 312700 w 781304"/>
              <a:gd name="connsiteY0" fmla="*/ 928119 h 928119"/>
              <a:gd name="connsiteX1" fmla="*/ 311130 w 781304"/>
              <a:gd name="connsiteY1" fmla="*/ 927961 h 928119"/>
              <a:gd name="connsiteX2" fmla="*/ 0 w 781304"/>
              <a:gd name="connsiteY2" fmla="*/ 546218 h 928119"/>
              <a:gd name="connsiteX3" fmla="*/ 1 w 781304"/>
              <a:gd name="connsiteY3" fmla="*/ 546218 h 928119"/>
              <a:gd name="connsiteX4" fmla="*/ 2 w 781304"/>
              <a:gd name="connsiteY4" fmla="*/ 546216 h 928119"/>
              <a:gd name="connsiteX5" fmla="*/ 2 w 781304"/>
              <a:gd name="connsiteY5" fmla="*/ 0 h 928119"/>
              <a:gd name="connsiteX6" fmla="*/ 779321 w 781304"/>
              <a:gd name="connsiteY6" fmla="*/ 0 h 928119"/>
              <a:gd name="connsiteX7" fmla="*/ 779321 w 781304"/>
              <a:gd name="connsiteY7" fmla="*/ 156558 h 928119"/>
              <a:gd name="connsiteX8" fmla="*/ 781304 w 781304"/>
              <a:gd name="connsiteY8" fmla="*/ 156558 h 928119"/>
              <a:gd name="connsiteX9" fmla="*/ 312700 w 781304"/>
              <a:gd name="connsiteY9" fmla="*/ 928119 h 9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304" h="928119">
                <a:moveTo>
                  <a:pt x="312700" y="928119"/>
                </a:moveTo>
                <a:lnTo>
                  <a:pt x="311130" y="927961"/>
                </a:lnTo>
                <a:cubicBezTo>
                  <a:pt x="133569" y="891627"/>
                  <a:pt x="0" y="734521"/>
                  <a:pt x="0" y="546218"/>
                </a:cubicBezTo>
                <a:lnTo>
                  <a:pt x="1" y="546218"/>
                </a:lnTo>
                <a:lnTo>
                  <a:pt x="2" y="546216"/>
                </a:lnTo>
                <a:lnTo>
                  <a:pt x="2" y="0"/>
                </a:lnTo>
                <a:lnTo>
                  <a:pt x="779321" y="0"/>
                </a:lnTo>
                <a:lnTo>
                  <a:pt x="779321" y="156558"/>
                </a:lnTo>
                <a:lnTo>
                  <a:pt x="781304" y="156558"/>
                </a:lnTo>
                <a:lnTo>
                  <a:pt x="312700" y="928119"/>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3FB3E3AD-EF3C-48DD-94ED-25F4FAAFD3C9}"/>
              </a:ext>
              <a:ext uri="{C183D7F6-B498-43B3-948B-1728B52AA6E4}">
                <adec:decorative xmlns:adec="http://schemas.microsoft.com/office/drawing/2017/decorative" xmlns="" val="1"/>
              </a:ext>
            </a:extLst>
          </p:cNvPr>
          <p:cNvSpPr/>
          <p:nvPr/>
        </p:nvSpPr>
        <p:spPr>
          <a:xfrm rot="10800000">
            <a:off x="8932113" y="2262571"/>
            <a:ext cx="641504" cy="770766"/>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9" name="Rectangle 588">
            <a:extLst>
              <a:ext uri="{FF2B5EF4-FFF2-40B4-BE49-F238E27FC236}">
                <a16:creationId xmlns:a16="http://schemas.microsoft.com/office/drawing/2014/main" id="{87D4A682-5C09-4106-AA96-D2FE74805DCC}"/>
              </a:ext>
              <a:ext uri="{C183D7F6-B498-43B3-948B-1728B52AA6E4}">
                <adec:decorative xmlns:adec="http://schemas.microsoft.com/office/drawing/2017/decorative" xmlns="" val="1"/>
              </a:ext>
            </a:extLst>
          </p:cNvPr>
          <p:cNvSpPr/>
          <p:nvPr/>
        </p:nvSpPr>
        <p:spPr>
          <a:xfrm rot="10800000">
            <a:off x="9598743" y="2262574"/>
            <a:ext cx="695530" cy="770764"/>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6" name="Rectangle 585">
            <a:extLst>
              <a:ext uri="{FF2B5EF4-FFF2-40B4-BE49-F238E27FC236}">
                <a16:creationId xmlns:a16="http://schemas.microsoft.com/office/drawing/2014/main" id="{2F9A6AFB-E004-4D4C-AA16-2957A8F4EFF1}"/>
              </a:ext>
              <a:ext uri="{C183D7F6-B498-43B3-948B-1728B52AA6E4}">
                <adec:decorative xmlns:adec="http://schemas.microsoft.com/office/drawing/2017/decorative" xmlns="" val="1"/>
              </a:ext>
            </a:extLst>
          </p:cNvPr>
          <p:cNvSpPr/>
          <p:nvPr/>
        </p:nvSpPr>
        <p:spPr>
          <a:xfrm rot="10800000">
            <a:off x="3470564" y="2507715"/>
            <a:ext cx="779318" cy="2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Freeform: Shape 678">
            <a:extLst>
              <a:ext uri="{FF2B5EF4-FFF2-40B4-BE49-F238E27FC236}">
                <a16:creationId xmlns:a16="http://schemas.microsoft.com/office/drawing/2014/main" id="{247B31A2-4E42-46E9-A275-83FA998BBE37}"/>
              </a:ext>
              <a:ext uri="{C183D7F6-B498-43B3-948B-1728B52AA6E4}">
                <adec:decorative xmlns:adec="http://schemas.microsoft.com/office/drawing/2017/decorative" xmlns="" val="1"/>
              </a:ext>
            </a:extLst>
          </p:cNvPr>
          <p:cNvSpPr/>
          <p:nvPr/>
        </p:nvSpPr>
        <p:spPr>
          <a:xfrm rot="10800000">
            <a:off x="-1" y="3279601"/>
            <a:ext cx="773684" cy="779319"/>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4" name="Rectangle 583">
            <a:extLst>
              <a:ext uri="{FF2B5EF4-FFF2-40B4-BE49-F238E27FC236}">
                <a16:creationId xmlns:a16="http://schemas.microsoft.com/office/drawing/2014/main" id="{0A0707BB-A322-4B6B-A51C-BA32BC32B9BF}"/>
              </a:ext>
              <a:ext uri="{C183D7F6-B498-43B3-948B-1728B52AA6E4}">
                <adec:decorative xmlns:adec="http://schemas.microsoft.com/office/drawing/2017/decorative" xmlns="" val="1"/>
              </a:ext>
            </a:extLst>
          </p:cNvPr>
          <p:cNvSpPr/>
          <p:nvPr/>
        </p:nvSpPr>
        <p:spPr>
          <a:xfrm rot="10800000">
            <a:off x="800758" y="3281597"/>
            <a:ext cx="676560" cy="77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83" name="Freeform: Shape 582">
            <a:extLst>
              <a:ext uri="{FF2B5EF4-FFF2-40B4-BE49-F238E27FC236}">
                <a16:creationId xmlns:a16="http://schemas.microsoft.com/office/drawing/2014/main" id="{C0AF7ED4-3A22-4C5D-8827-F5A4BAE61426}"/>
              </a:ext>
              <a:ext uri="{C183D7F6-B498-43B3-948B-1728B52AA6E4}">
                <adec:decorative xmlns:adec="http://schemas.microsoft.com/office/drawing/2017/decorative" xmlns="" val="1"/>
              </a:ext>
            </a:extLst>
          </p:cNvPr>
          <p:cNvSpPr/>
          <p:nvPr/>
        </p:nvSpPr>
        <p:spPr>
          <a:xfrm rot="10800000">
            <a:off x="1503680" y="3282659"/>
            <a:ext cx="754832" cy="76956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43553 w 750643"/>
              <a:gd name="connsiteY0" fmla="*/ 768169 h 768169"/>
              <a:gd name="connsiteX1" fmla="*/ 394329 w 750643"/>
              <a:gd name="connsiteY1" fmla="*/ 768169 h 768169"/>
              <a:gd name="connsiteX2" fmla="*/ 4669 w 750643"/>
              <a:gd name="connsiteY2" fmla="*/ 378509 h 768169"/>
              <a:gd name="connsiteX3" fmla="*/ 4671 w 750643"/>
              <a:gd name="connsiteY3" fmla="*/ 378509 h 768169"/>
              <a:gd name="connsiteX4" fmla="*/ 8353 w 750643"/>
              <a:gd name="connsiteY4" fmla="*/ 360266 h 768169"/>
              <a:gd name="connsiteX5" fmla="*/ 4671 w 750643"/>
              <a:gd name="connsiteY5" fmla="*/ 342026 h 768169"/>
              <a:gd name="connsiteX6" fmla="*/ 0 w 750643"/>
              <a:gd name="connsiteY6" fmla="*/ 305 h 768169"/>
              <a:gd name="connsiteX7" fmla="*/ 750643 w 750643"/>
              <a:gd name="connsiteY7" fmla="*/ 0 h 768169"/>
              <a:gd name="connsiteX8" fmla="*/ 743553 w 750643"/>
              <a:gd name="connsiteY8" fmla="*/ 768169 h 76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643" h="768169">
                <a:moveTo>
                  <a:pt x="743553" y="768169"/>
                </a:moveTo>
                <a:lnTo>
                  <a:pt x="394329" y="768169"/>
                </a:lnTo>
                <a:cubicBezTo>
                  <a:pt x="179126" y="768169"/>
                  <a:pt x="4669" y="593712"/>
                  <a:pt x="4669" y="378509"/>
                </a:cubicBezTo>
                <a:lnTo>
                  <a:pt x="4671" y="378509"/>
                </a:lnTo>
                <a:lnTo>
                  <a:pt x="8353" y="360266"/>
                </a:lnTo>
                <a:lnTo>
                  <a:pt x="4671" y="342026"/>
                </a:lnTo>
                <a:lnTo>
                  <a:pt x="0" y="305"/>
                </a:lnTo>
                <a:lnTo>
                  <a:pt x="750643" y="0"/>
                </a:lnTo>
                <a:cubicBezTo>
                  <a:pt x="748280" y="256056"/>
                  <a:pt x="745916" y="512113"/>
                  <a:pt x="743553" y="7681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C211596B-4E4A-4BDB-B7F0-B97773EEDB10}"/>
              </a:ext>
              <a:ext uri="{C183D7F6-B498-43B3-948B-1728B52AA6E4}">
                <adec:decorative xmlns:adec="http://schemas.microsoft.com/office/drawing/2017/decorative" xmlns="" val="1"/>
              </a:ext>
            </a:extLst>
          </p:cNvPr>
          <p:cNvSpPr/>
          <p:nvPr/>
        </p:nvSpPr>
        <p:spPr>
          <a:xfrm rot="10800000">
            <a:off x="5556410" y="2672991"/>
            <a:ext cx="779320" cy="607568"/>
          </a:xfrm>
          <a:custGeom>
            <a:avLst/>
            <a:gdLst>
              <a:gd name="connsiteX0" fmla="*/ 779319 w 779320"/>
              <a:gd name="connsiteY0" fmla="*/ 607568 h 607568"/>
              <a:gd name="connsiteX1" fmla="*/ 0 w 779320"/>
              <a:gd name="connsiteY1" fmla="*/ 607568 h 607568"/>
              <a:gd name="connsiteX2" fmla="*/ 0 w 779320"/>
              <a:gd name="connsiteY2" fmla="*/ 0 h 607568"/>
              <a:gd name="connsiteX3" fmla="*/ 779320 w 779320"/>
              <a:gd name="connsiteY3" fmla="*/ 0 h 607568"/>
              <a:gd name="connsiteX4" fmla="*/ 779319 w 779320"/>
              <a:gd name="connsiteY4" fmla="*/ 607568 h 60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607568">
                <a:moveTo>
                  <a:pt x="779319" y="607568"/>
                </a:moveTo>
                <a:lnTo>
                  <a:pt x="0" y="607568"/>
                </a:lnTo>
                <a:lnTo>
                  <a:pt x="0" y="0"/>
                </a:lnTo>
                <a:lnTo>
                  <a:pt x="779320" y="0"/>
                </a:lnTo>
                <a:lnTo>
                  <a:pt x="779319" y="607568"/>
                </a:lnTo>
                <a:close/>
              </a:path>
            </a:pathLst>
          </a:cu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72" name="Rectangle 571">
            <a:extLst>
              <a:ext uri="{FF2B5EF4-FFF2-40B4-BE49-F238E27FC236}">
                <a16:creationId xmlns:a16="http://schemas.microsoft.com/office/drawing/2014/main" id="{4290B0FD-2169-4415-8CA8-0B084FB3AC64}"/>
              </a:ext>
              <a:ext uri="{C183D7F6-B498-43B3-948B-1728B52AA6E4}">
                <adec:decorative xmlns:adec="http://schemas.microsoft.com/office/drawing/2017/decorative" xmlns="" val="1"/>
              </a:ext>
            </a:extLst>
          </p:cNvPr>
          <p:cNvSpPr/>
          <p:nvPr/>
        </p:nvSpPr>
        <p:spPr>
          <a:xfrm rot="10800000">
            <a:off x="10318172" y="3085759"/>
            <a:ext cx="779318" cy="2772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75D87F70-A611-421D-8719-1F2598BA6665}"/>
              </a:ext>
              <a:ext uri="{C183D7F6-B498-43B3-948B-1728B52AA6E4}">
                <adec:decorative xmlns:adec="http://schemas.microsoft.com/office/drawing/2017/decorative" xmlns="" val="1"/>
              </a:ext>
            </a:extLst>
          </p:cNvPr>
          <p:cNvSpPr/>
          <p:nvPr/>
        </p:nvSpPr>
        <p:spPr>
          <a:xfrm rot="10800000">
            <a:off x="3470564" y="2810585"/>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7" name="Rectangle 566" descr="Logging and monitoring">
            <a:extLst>
              <a:ext uri="{FF2B5EF4-FFF2-40B4-BE49-F238E27FC236}">
                <a16:creationId xmlns:a16="http://schemas.microsoft.com/office/drawing/2014/main" id="{07299D97-9DE0-4379-BC79-1D0E14FF8709}"/>
              </a:ext>
            </a:extLst>
          </p:cNvPr>
          <p:cNvSpPr/>
          <p:nvPr/>
        </p:nvSpPr>
        <p:spPr>
          <a:xfrm rot="10800000">
            <a:off x="8131894" y="3061890"/>
            <a:ext cx="779320" cy="391387"/>
          </a:xfrm>
          <a:prstGeom prst="rect">
            <a:avLst/>
          </a:pr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 uri="{C183D7F6-B498-43B3-948B-1728B52AA6E4}">
                <adec:decorative xmlns:adec="http://schemas.microsoft.com/office/drawing/2017/decorative" xmlns="" val="1"/>
              </a:ext>
            </a:extLst>
          </p:cNvPr>
          <p:cNvSpPr/>
          <p:nvPr/>
        </p:nvSpPr>
        <p:spPr>
          <a:xfrm rot="10800000">
            <a:off x="1493567" y="4083977"/>
            <a:ext cx="767461" cy="6274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5" name="Freeform: Shape 554">
            <a:extLst>
              <a:ext uri="{FF2B5EF4-FFF2-40B4-BE49-F238E27FC236}">
                <a16:creationId xmlns:a16="http://schemas.microsoft.com/office/drawing/2014/main" id="{0DBFCA36-F14C-4D72-BB8A-C6C916B1A403}"/>
              </a:ext>
              <a:ext uri="{C183D7F6-B498-43B3-948B-1728B52AA6E4}">
                <adec:decorative xmlns:adec="http://schemas.microsoft.com/office/drawing/2017/decorative" xmlns="" val="1"/>
              </a:ext>
            </a:extLst>
          </p:cNvPr>
          <p:cNvSpPr/>
          <p:nvPr/>
        </p:nvSpPr>
        <p:spPr>
          <a:xfrm rot="10800000">
            <a:off x="3470564" y="3166185"/>
            <a:ext cx="779319" cy="475488"/>
          </a:xfrm>
          <a:custGeom>
            <a:avLst/>
            <a:gdLst>
              <a:gd name="connsiteX0" fmla="*/ 779319 w 779319"/>
              <a:gd name="connsiteY0" fmla="*/ 475488 h 475488"/>
              <a:gd name="connsiteX1" fmla="*/ 0 w 779319"/>
              <a:gd name="connsiteY1" fmla="*/ 475488 h 475488"/>
              <a:gd name="connsiteX2" fmla="*/ 0 w 779319"/>
              <a:gd name="connsiteY2" fmla="*/ 0 h 475488"/>
              <a:gd name="connsiteX3" fmla="*/ 779319 w 779319"/>
              <a:gd name="connsiteY3" fmla="*/ 0 h 475488"/>
              <a:gd name="connsiteX4" fmla="*/ 779319 w 779319"/>
              <a:gd name="connsiteY4" fmla="*/ 475488 h 47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475488">
                <a:moveTo>
                  <a:pt x="779319" y="475488"/>
                </a:moveTo>
                <a:lnTo>
                  <a:pt x="0" y="475488"/>
                </a:lnTo>
                <a:lnTo>
                  <a:pt x="0" y="0"/>
                </a:lnTo>
                <a:lnTo>
                  <a:pt x="779319" y="0"/>
                </a:lnTo>
                <a:lnTo>
                  <a:pt x="779319" y="475488"/>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8D6367B9-A35E-4EC3-8CD7-D1F0EAB60C93}"/>
              </a:ext>
              <a:ext uri="{C183D7F6-B498-43B3-948B-1728B52AA6E4}">
                <adec:decorative xmlns:adec="http://schemas.microsoft.com/office/drawing/2017/decorative" xmlns="" val="1"/>
              </a:ext>
            </a:extLst>
          </p:cNvPr>
          <p:cNvSpPr/>
          <p:nvPr/>
        </p:nvSpPr>
        <p:spPr>
          <a:xfrm rot="10800000">
            <a:off x="5556410" y="3307991"/>
            <a:ext cx="779320" cy="368808"/>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8" name="Freeform: Shape 547">
            <a:extLst>
              <a:ext uri="{FF2B5EF4-FFF2-40B4-BE49-F238E27FC236}">
                <a16:creationId xmlns:a16="http://schemas.microsoft.com/office/drawing/2014/main" id="{0581F1A7-92AA-4C1E-A1D5-600CBE73F67D}"/>
              </a:ext>
              <a:ext uri="{C183D7F6-B498-43B3-948B-1728B52AA6E4}">
                <adec:decorative xmlns:adec="http://schemas.microsoft.com/office/drawing/2017/decorative" xmlns="" val="1"/>
              </a:ext>
            </a:extLst>
          </p:cNvPr>
          <p:cNvSpPr/>
          <p:nvPr/>
        </p:nvSpPr>
        <p:spPr>
          <a:xfrm rot="10800000">
            <a:off x="10318172" y="3390435"/>
            <a:ext cx="779319" cy="239268"/>
          </a:xfrm>
          <a:custGeom>
            <a:avLst/>
            <a:gdLst>
              <a:gd name="connsiteX0" fmla="*/ 779318 w 779319"/>
              <a:gd name="connsiteY0" fmla="*/ 239268 h 239268"/>
              <a:gd name="connsiteX1" fmla="*/ 0 w 779319"/>
              <a:gd name="connsiteY1" fmla="*/ 239268 h 239268"/>
              <a:gd name="connsiteX2" fmla="*/ 0 w 779319"/>
              <a:gd name="connsiteY2" fmla="*/ 0 h 239268"/>
              <a:gd name="connsiteX3" fmla="*/ 779319 w 779319"/>
              <a:gd name="connsiteY3" fmla="*/ 0 h 239268"/>
              <a:gd name="connsiteX4" fmla="*/ 779318 w 779319"/>
              <a:gd name="connsiteY4" fmla="*/ 239268 h 239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39268">
                <a:moveTo>
                  <a:pt x="779318" y="239268"/>
                </a:moveTo>
                <a:lnTo>
                  <a:pt x="0" y="239268"/>
                </a:lnTo>
                <a:lnTo>
                  <a:pt x="0" y="0"/>
                </a:lnTo>
                <a:lnTo>
                  <a:pt x="779319" y="0"/>
                </a:lnTo>
                <a:lnTo>
                  <a:pt x="779318" y="23926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F06DE7AC-EB5A-4B22-8D92-7845F0AF06B6}"/>
              </a:ext>
              <a:ext uri="{C183D7F6-B498-43B3-948B-1728B52AA6E4}">
                <adec:decorative xmlns:adec="http://schemas.microsoft.com/office/drawing/2017/decorative" xmlns="" val="1"/>
              </a:ext>
            </a:extLst>
          </p:cNvPr>
          <p:cNvSpPr/>
          <p:nvPr/>
        </p:nvSpPr>
        <p:spPr>
          <a:xfrm rot="10800000">
            <a:off x="8131894" y="3480711"/>
            <a:ext cx="779320" cy="455168"/>
          </a:xfrm>
          <a:custGeom>
            <a:avLst/>
            <a:gdLst>
              <a:gd name="connsiteX0" fmla="*/ 779320 w 779320"/>
              <a:gd name="connsiteY0" fmla="*/ 455168 h 455168"/>
              <a:gd name="connsiteX1" fmla="*/ 0 w 779320"/>
              <a:gd name="connsiteY1" fmla="*/ 455168 h 455168"/>
              <a:gd name="connsiteX2" fmla="*/ 0 w 779320"/>
              <a:gd name="connsiteY2" fmla="*/ 0 h 455168"/>
              <a:gd name="connsiteX3" fmla="*/ 779320 w 779320"/>
              <a:gd name="connsiteY3" fmla="*/ 0 h 455168"/>
              <a:gd name="connsiteX4" fmla="*/ 779320 w 779320"/>
              <a:gd name="connsiteY4" fmla="*/ 455168 h 45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55168">
                <a:moveTo>
                  <a:pt x="779320" y="455168"/>
                </a:moveTo>
                <a:lnTo>
                  <a:pt x="0" y="455168"/>
                </a:lnTo>
                <a:lnTo>
                  <a:pt x="0" y="0"/>
                </a:lnTo>
                <a:lnTo>
                  <a:pt x="779320" y="0"/>
                </a:lnTo>
                <a:lnTo>
                  <a:pt x="779320" y="45516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40DDFE68-ED67-42F2-82BE-406A2DE61821}"/>
              </a:ext>
              <a:ext uri="{C183D7F6-B498-43B3-948B-1728B52AA6E4}">
                <adec:decorative xmlns:adec="http://schemas.microsoft.com/office/drawing/2017/decorative" xmlns="" val="1"/>
              </a:ext>
            </a:extLst>
          </p:cNvPr>
          <p:cNvSpPr/>
          <p:nvPr/>
        </p:nvSpPr>
        <p:spPr>
          <a:xfrm rot="10800000">
            <a:off x="10318172" y="3657135"/>
            <a:ext cx="779319" cy="284988"/>
          </a:xfrm>
          <a:custGeom>
            <a:avLst/>
            <a:gdLst>
              <a:gd name="connsiteX0" fmla="*/ 779319 w 779319"/>
              <a:gd name="connsiteY0" fmla="*/ 284988 h 284988"/>
              <a:gd name="connsiteX1" fmla="*/ 0 w 779319"/>
              <a:gd name="connsiteY1" fmla="*/ 284988 h 284988"/>
              <a:gd name="connsiteX2" fmla="*/ 0 w 779319"/>
              <a:gd name="connsiteY2" fmla="*/ 0 h 284988"/>
              <a:gd name="connsiteX3" fmla="*/ 779319 w 779319"/>
              <a:gd name="connsiteY3" fmla="*/ 0 h 284988"/>
              <a:gd name="connsiteX4" fmla="*/ 779319 w 779319"/>
              <a:gd name="connsiteY4" fmla="*/ 284988 h 284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284988">
                <a:moveTo>
                  <a:pt x="779319" y="284988"/>
                </a:moveTo>
                <a:lnTo>
                  <a:pt x="0" y="284988"/>
                </a:lnTo>
                <a:lnTo>
                  <a:pt x="0" y="0"/>
                </a:lnTo>
                <a:lnTo>
                  <a:pt x="779319" y="0"/>
                </a:lnTo>
                <a:lnTo>
                  <a:pt x="779319" y="2849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DD4D1502-405E-4251-8B68-2569D0F44A0F}"/>
              </a:ext>
              <a:ext uri="{C183D7F6-B498-43B3-948B-1728B52AA6E4}">
                <adec:decorative xmlns:adec="http://schemas.microsoft.com/office/drawing/2017/decorative" xmlns="" val="1"/>
              </a:ext>
            </a:extLst>
          </p:cNvPr>
          <p:cNvSpPr/>
          <p:nvPr/>
        </p:nvSpPr>
        <p:spPr>
          <a:xfrm rot="10800000">
            <a:off x="3470564" y="4563615"/>
            <a:ext cx="779319" cy="622808"/>
          </a:xfrm>
          <a:custGeom>
            <a:avLst/>
            <a:gdLst>
              <a:gd name="connsiteX0" fmla="*/ 779319 w 779319"/>
              <a:gd name="connsiteY0" fmla="*/ 622808 h 622808"/>
              <a:gd name="connsiteX1" fmla="*/ 0 w 779319"/>
              <a:gd name="connsiteY1" fmla="*/ 622808 h 622808"/>
              <a:gd name="connsiteX2" fmla="*/ 0 w 779319"/>
              <a:gd name="connsiteY2" fmla="*/ 0 h 622808"/>
              <a:gd name="connsiteX3" fmla="*/ 779319 w 779319"/>
              <a:gd name="connsiteY3" fmla="*/ 0 h 622808"/>
              <a:gd name="connsiteX4" fmla="*/ 779319 w 779319"/>
              <a:gd name="connsiteY4" fmla="*/ 622808 h 622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622808">
                <a:moveTo>
                  <a:pt x="779319" y="622808"/>
                </a:moveTo>
                <a:lnTo>
                  <a:pt x="0" y="622808"/>
                </a:lnTo>
                <a:lnTo>
                  <a:pt x="0" y="0"/>
                </a:lnTo>
                <a:lnTo>
                  <a:pt x="779319" y="0"/>
                </a:lnTo>
                <a:lnTo>
                  <a:pt x="779319" y="622808"/>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B23D13EF-4DDD-455B-AB74-BAC86D9AC7E2}"/>
              </a:ext>
              <a:ext uri="{C183D7F6-B498-43B3-948B-1728B52AA6E4}">
                <adec:decorative xmlns:adec="http://schemas.microsoft.com/office/drawing/2017/decorative" xmlns="" val="1"/>
              </a:ext>
            </a:extLst>
          </p:cNvPr>
          <p:cNvSpPr/>
          <p:nvPr/>
        </p:nvSpPr>
        <p:spPr>
          <a:xfrm rot="10800000">
            <a:off x="5556410" y="3704231"/>
            <a:ext cx="779320" cy="267208"/>
          </a:xfrm>
          <a:custGeom>
            <a:avLst/>
            <a:gdLst>
              <a:gd name="connsiteX0" fmla="*/ 779320 w 779320"/>
              <a:gd name="connsiteY0" fmla="*/ 267208 h 267208"/>
              <a:gd name="connsiteX1" fmla="*/ 0 w 779320"/>
              <a:gd name="connsiteY1" fmla="*/ 267208 h 267208"/>
              <a:gd name="connsiteX2" fmla="*/ 0 w 779320"/>
              <a:gd name="connsiteY2" fmla="*/ 0 h 267208"/>
              <a:gd name="connsiteX3" fmla="*/ 779320 w 779320"/>
              <a:gd name="connsiteY3" fmla="*/ 0 h 267208"/>
              <a:gd name="connsiteX4" fmla="*/ 779320 w 779320"/>
              <a:gd name="connsiteY4" fmla="*/ 267208 h 26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267208">
                <a:moveTo>
                  <a:pt x="779320" y="267208"/>
                </a:moveTo>
                <a:lnTo>
                  <a:pt x="0" y="267208"/>
                </a:lnTo>
                <a:lnTo>
                  <a:pt x="0" y="0"/>
                </a:lnTo>
                <a:lnTo>
                  <a:pt x="779320" y="0"/>
                </a:lnTo>
                <a:lnTo>
                  <a:pt x="779320" y="2672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0F878D6A-2B66-42EE-9C04-F3973416F970}"/>
              </a:ext>
              <a:ext uri="{C183D7F6-B498-43B3-948B-1728B52AA6E4}">
                <adec:decorative xmlns:adec="http://schemas.microsoft.com/office/drawing/2017/decorative" xmlns="" val="1"/>
              </a:ext>
            </a:extLst>
          </p:cNvPr>
          <p:cNvSpPr/>
          <p:nvPr/>
        </p:nvSpPr>
        <p:spPr>
          <a:xfrm rot="10800000">
            <a:off x="1493568" y="4738875"/>
            <a:ext cx="767462" cy="447549"/>
          </a:xfrm>
          <a:custGeom>
            <a:avLst/>
            <a:gdLst>
              <a:gd name="connsiteX0" fmla="*/ 779319 w 779320"/>
              <a:gd name="connsiteY0" fmla="*/ 447548 h 447548"/>
              <a:gd name="connsiteX1" fmla="*/ 0 w 779320"/>
              <a:gd name="connsiteY1" fmla="*/ 447548 h 447548"/>
              <a:gd name="connsiteX2" fmla="*/ 0 w 779320"/>
              <a:gd name="connsiteY2" fmla="*/ 0 h 447548"/>
              <a:gd name="connsiteX3" fmla="*/ 779320 w 779320"/>
              <a:gd name="connsiteY3" fmla="*/ 0 h 447548"/>
              <a:gd name="connsiteX4" fmla="*/ 779319 w 779320"/>
              <a:gd name="connsiteY4" fmla="*/ 447548 h 44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447548">
                <a:moveTo>
                  <a:pt x="779319" y="447548"/>
                </a:moveTo>
                <a:lnTo>
                  <a:pt x="0" y="447548"/>
                </a:lnTo>
                <a:lnTo>
                  <a:pt x="0" y="0"/>
                </a:lnTo>
                <a:lnTo>
                  <a:pt x="779320" y="0"/>
                </a:lnTo>
                <a:lnTo>
                  <a:pt x="779319" y="447548"/>
                </a:lnTo>
                <a:close/>
              </a:path>
            </a:pathLst>
          </a:cu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2B246904-370F-4E7E-8E89-05CC1970E86E}"/>
              </a:ext>
              <a:ext uri="{C183D7F6-B498-43B3-948B-1728B52AA6E4}">
                <adec:decorative xmlns:adec="http://schemas.microsoft.com/office/drawing/2017/decorative" xmlns="" val="1"/>
              </a:ext>
            </a:extLst>
          </p:cNvPr>
          <p:cNvSpPr/>
          <p:nvPr/>
        </p:nvSpPr>
        <p:spPr>
          <a:xfrm rot="10800000">
            <a:off x="10318168" y="3979794"/>
            <a:ext cx="779319" cy="362828"/>
          </a:xfrm>
          <a:custGeom>
            <a:avLst/>
            <a:gdLst>
              <a:gd name="connsiteX0" fmla="*/ 779319 w 779319"/>
              <a:gd name="connsiteY0" fmla="*/ 384048 h 384048"/>
              <a:gd name="connsiteX1" fmla="*/ 0 w 779319"/>
              <a:gd name="connsiteY1" fmla="*/ 384048 h 384048"/>
              <a:gd name="connsiteX2" fmla="*/ 0 w 779319"/>
              <a:gd name="connsiteY2" fmla="*/ 0 h 384048"/>
              <a:gd name="connsiteX3" fmla="*/ 779319 w 779319"/>
              <a:gd name="connsiteY3" fmla="*/ 0 h 384048"/>
              <a:gd name="connsiteX4" fmla="*/ 779319 w 779319"/>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84048">
                <a:moveTo>
                  <a:pt x="779319" y="384048"/>
                </a:moveTo>
                <a:lnTo>
                  <a:pt x="0" y="384048"/>
                </a:lnTo>
                <a:lnTo>
                  <a:pt x="0" y="0"/>
                </a:lnTo>
                <a:lnTo>
                  <a:pt x="779319" y="0"/>
                </a:lnTo>
                <a:lnTo>
                  <a:pt x="779319" y="38404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632C5991-EC87-46B8-BE22-75F66AF890A8}"/>
              </a:ext>
              <a:ext uri="{C183D7F6-B498-43B3-948B-1728B52AA6E4}">
                <adec:decorative xmlns:adec="http://schemas.microsoft.com/office/drawing/2017/decorative" xmlns="" val="1"/>
              </a:ext>
            </a:extLst>
          </p:cNvPr>
          <p:cNvSpPr/>
          <p:nvPr/>
        </p:nvSpPr>
        <p:spPr>
          <a:xfrm rot="10800000">
            <a:off x="8131894" y="3963311"/>
            <a:ext cx="779320" cy="384048"/>
          </a:xfrm>
          <a:custGeom>
            <a:avLst/>
            <a:gdLst>
              <a:gd name="connsiteX0" fmla="*/ 779320 w 779320"/>
              <a:gd name="connsiteY0" fmla="*/ 384048 h 384048"/>
              <a:gd name="connsiteX1" fmla="*/ 0 w 779320"/>
              <a:gd name="connsiteY1" fmla="*/ 384048 h 384048"/>
              <a:gd name="connsiteX2" fmla="*/ 0 w 779320"/>
              <a:gd name="connsiteY2" fmla="*/ 0 h 384048"/>
              <a:gd name="connsiteX3" fmla="*/ 779320 w 779320"/>
              <a:gd name="connsiteY3" fmla="*/ 0 h 384048"/>
              <a:gd name="connsiteX4" fmla="*/ 779320 w 779320"/>
              <a:gd name="connsiteY4" fmla="*/ 384048 h 38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84048">
                <a:moveTo>
                  <a:pt x="779320" y="384048"/>
                </a:moveTo>
                <a:lnTo>
                  <a:pt x="0" y="384048"/>
                </a:lnTo>
                <a:lnTo>
                  <a:pt x="0" y="0"/>
                </a:lnTo>
                <a:lnTo>
                  <a:pt x="779320" y="0"/>
                </a:lnTo>
                <a:lnTo>
                  <a:pt x="779320" y="384048"/>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7A693F51-D7B4-4D06-B065-2394DBF03D09}"/>
              </a:ext>
              <a:ext uri="{C183D7F6-B498-43B3-948B-1728B52AA6E4}">
                <adec:decorative xmlns:adec="http://schemas.microsoft.com/office/drawing/2017/decorative" xmlns="" val="1"/>
              </a:ext>
            </a:extLst>
          </p:cNvPr>
          <p:cNvSpPr/>
          <p:nvPr/>
        </p:nvSpPr>
        <p:spPr>
          <a:xfrm rot="10800000">
            <a:off x="5556410" y="4004010"/>
            <a:ext cx="779320" cy="304404"/>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7" name="Rectangle 516">
            <a:extLst>
              <a:ext uri="{FF2B5EF4-FFF2-40B4-BE49-F238E27FC236}">
                <a16:creationId xmlns:a16="http://schemas.microsoft.com/office/drawing/2014/main" id="{2AE629F1-86D6-4806-B8C7-23ADDFBB7E37}"/>
              </a:ext>
              <a:ext uri="{C183D7F6-B498-43B3-948B-1728B52AA6E4}">
                <adec:decorative xmlns:adec="http://schemas.microsoft.com/office/drawing/2017/decorative" xmlns="" val="1"/>
              </a:ext>
            </a:extLst>
          </p:cNvPr>
          <p:cNvSpPr/>
          <p:nvPr/>
        </p:nvSpPr>
        <p:spPr>
          <a:xfrm rot="10800000">
            <a:off x="1493568" y="5219427"/>
            <a:ext cx="767462" cy="51726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6" name="Rectangle 515">
            <a:extLst>
              <a:ext uri="{FF2B5EF4-FFF2-40B4-BE49-F238E27FC236}">
                <a16:creationId xmlns:a16="http://schemas.microsoft.com/office/drawing/2014/main" id="{1FFB39F2-5530-4052-9CB2-35F128075493}"/>
              </a:ext>
              <a:ext uri="{C183D7F6-B498-43B3-948B-1728B52AA6E4}">
                <adec:decorative xmlns:adec="http://schemas.microsoft.com/office/drawing/2017/decorative" xmlns="" val="1"/>
              </a:ext>
            </a:extLst>
          </p:cNvPr>
          <p:cNvSpPr/>
          <p:nvPr/>
        </p:nvSpPr>
        <p:spPr>
          <a:xfrm rot="10800000">
            <a:off x="3470561" y="5213853"/>
            <a:ext cx="779319" cy="5228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9209AC72-B60E-41BD-9A03-020F06C05A57}"/>
              </a:ext>
              <a:ext uri="{C183D7F6-B498-43B3-948B-1728B52AA6E4}">
                <adec:decorative xmlns:adec="http://schemas.microsoft.com/office/drawing/2017/decorative" xmlns="" val="1"/>
              </a:ext>
            </a:extLst>
          </p:cNvPr>
          <p:cNvSpPr/>
          <p:nvPr/>
        </p:nvSpPr>
        <p:spPr>
          <a:xfrm rot="10800000">
            <a:off x="5556410" y="4331064"/>
            <a:ext cx="779320" cy="332291"/>
          </a:xfrm>
          <a:custGeom>
            <a:avLst/>
            <a:gdLst>
              <a:gd name="connsiteX0" fmla="*/ 779320 w 779320"/>
              <a:gd name="connsiteY0" fmla="*/ 307848 h 307848"/>
              <a:gd name="connsiteX1" fmla="*/ 0 w 779320"/>
              <a:gd name="connsiteY1" fmla="*/ 307848 h 307848"/>
              <a:gd name="connsiteX2" fmla="*/ 0 w 779320"/>
              <a:gd name="connsiteY2" fmla="*/ 0 h 307848"/>
              <a:gd name="connsiteX3" fmla="*/ 779320 w 779320"/>
              <a:gd name="connsiteY3" fmla="*/ 0 h 307848"/>
              <a:gd name="connsiteX4" fmla="*/ 779320 w 779320"/>
              <a:gd name="connsiteY4" fmla="*/ 307848 h 307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07848">
                <a:moveTo>
                  <a:pt x="779320" y="307848"/>
                </a:moveTo>
                <a:lnTo>
                  <a:pt x="0" y="307848"/>
                </a:lnTo>
                <a:lnTo>
                  <a:pt x="0" y="0"/>
                </a:lnTo>
                <a:lnTo>
                  <a:pt x="779320" y="0"/>
                </a:lnTo>
                <a:lnTo>
                  <a:pt x="779320" y="30784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0" name="Rectangle 509">
            <a:extLst>
              <a:ext uri="{FF2B5EF4-FFF2-40B4-BE49-F238E27FC236}">
                <a16:creationId xmlns:a16="http://schemas.microsoft.com/office/drawing/2014/main" id="{BEFE1F84-07CD-4C62-A642-C6ACF3BD0653}"/>
              </a:ext>
              <a:ext uri="{C183D7F6-B498-43B3-948B-1728B52AA6E4}">
                <adec:decorative xmlns:adec="http://schemas.microsoft.com/office/drawing/2017/decorative" xmlns="" val="1"/>
              </a:ext>
            </a:extLst>
          </p:cNvPr>
          <p:cNvSpPr/>
          <p:nvPr/>
        </p:nvSpPr>
        <p:spPr>
          <a:xfrm rot="10800000">
            <a:off x="10318170" y="4371095"/>
            <a:ext cx="779320" cy="503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3A049717-95C3-4619-AD09-DA0C807B6717}"/>
              </a:ext>
              <a:ext uri="{C183D7F6-B498-43B3-948B-1728B52AA6E4}">
                <adec:decorative xmlns:adec="http://schemas.microsoft.com/office/drawing/2017/decorative" xmlns="" val="1"/>
              </a:ext>
            </a:extLst>
          </p:cNvPr>
          <p:cNvSpPr/>
          <p:nvPr/>
        </p:nvSpPr>
        <p:spPr>
          <a:xfrm rot="10800000">
            <a:off x="8087070" y="4374791"/>
            <a:ext cx="824147" cy="1202956"/>
          </a:xfrm>
          <a:custGeom>
            <a:avLst/>
            <a:gdLst>
              <a:gd name="connsiteX0" fmla="*/ 779322 w 824147"/>
              <a:gd name="connsiteY0" fmla="*/ 1202956 h 1202956"/>
              <a:gd name="connsiteX1" fmla="*/ 2 w 824147"/>
              <a:gd name="connsiteY1" fmla="*/ 1202956 h 1202956"/>
              <a:gd name="connsiteX2" fmla="*/ 2 w 824147"/>
              <a:gd name="connsiteY2" fmla="*/ 319578 h 1202956"/>
              <a:gd name="connsiteX3" fmla="*/ 0 w 824147"/>
              <a:gd name="connsiteY3" fmla="*/ 319569 h 1202956"/>
              <a:gd name="connsiteX4" fmla="*/ 1 w 824147"/>
              <a:gd name="connsiteY4" fmla="*/ 319569 h 1202956"/>
              <a:gd name="connsiteX5" fmla="*/ 2 w 824147"/>
              <a:gd name="connsiteY5" fmla="*/ 319564 h 1202956"/>
              <a:gd name="connsiteX6" fmla="*/ 114131 w 824147"/>
              <a:gd name="connsiteY6" fmla="*/ 44033 h 1202956"/>
              <a:gd name="connsiteX7" fmla="*/ 167500 w 824147"/>
              <a:gd name="connsiteY7" fmla="*/ 0 h 1202956"/>
              <a:gd name="connsiteX8" fmla="*/ 824147 w 824147"/>
              <a:gd name="connsiteY8" fmla="*/ 709229 h 1202956"/>
              <a:gd name="connsiteX9" fmla="*/ 779322 w 824147"/>
              <a:gd name="connsiteY9" fmla="*/ 709229 h 1202956"/>
              <a:gd name="connsiteX10" fmla="*/ 779322 w 824147"/>
              <a:gd name="connsiteY10" fmla="*/ 1202956 h 120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4147" h="1202956">
                <a:moveTo>
                  <a:pt x="779322" y="1202956"/>
                </a:moveTo>
                <a:lnTo>
                  <a:pt x="2" y="1202956"/>
                </a:lnTo>
                <a:lnTo>
                  <a:pt x="2" y="319578"/>
                </a:lnTo>
                <a:lnTo>
                  <a:pt x="0" y="319569"/>
                </a:lnTo>
                <a:lnTo>
                  <a:pt x="1" y="319569"/>
                </a:lnTo>
                <a:lnTo>
                  <a:pt x="2" y="319564"/>
                </a:lnTo>
                <a:cubicBezTo>
                  <a:pt x="2" y="211963"/>
                  <a:pt x="43616" y="114548"/>
                  <a:pt x="114131" y="44033"/>
                </a:cubicBezTo>
                <a:lnTo>
                  <a:pt x="167500" y="0"/>
                </a:lnTo>
                <a:lnTo>
                  <a:pt x="824147" y="709229"/>
                </a:lnTo>
                <a:lnTo>
                  <a:pt x="779322" y="709229"/>
                </a:lnTo>
                <a:lnTo>
                  <a:pt x="779322" y="1202956"/>
                </a:ln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7" name="Rectangle 486">
            <a:extLst>
              <a:ext uri="{FF2B5EF4-FFF2-40B4-BE49-F238E27FC236}">
                <a16:creationId xmlns:a16="http://schemas.microsoft.com/office/drawing/2014/main" id="{0C072E15-2C74-420D-BD1B-8CB1A1095A19}"/>
              </a:ext>
              <a:ext uri="{C183D7F6-B498-43B3-948B-1728B52AA6E4}">
                <adec:decorative xmlns:adec="http://schemas.microsoft.com/office/drawing/2017/decorative" xmlns="" val="1"/>
              </a:ext>
            </a:extLst>
          </p:cNvPr>
          <p:cNvSpPr/>
          <p:nvPr/>
        </p:nvSpPr>
        <p:spPr>
          <a:xfrm rot="10800000">
            <a:off x="2286867" y="5776994"/>
            <a:ext cx="387865" cy="765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6" name="Rectangle 485">
            <a:extLst>
              <a:ext uri="{FF2B5EF4-FFF2-40B4-BE49-F238E27FC236}">
                <a16:creationId xmlns:a16="http://schemas.microsoft.com/office/drawing/2014/main" id="{19CBAE34-9DE4-43F3-99D6-ADDE8274EF5A}"/>
              </a:ext>
              <a:ext uri="{C183D7F6-B498-43B3-948B-1728B52AA6E4}">
                <adec:decorative xmlns:adec="http://schemas.microsoft.com/office/drawing/2017/decorative" xmlns="" val="1"/>
              </a:ext>
            </a:extLst>
          </p:cNvPr>
          <p:cNvSpPr/>
          <p:nvPr/>
        </p:nvSpPr>
        <p:spPr>
          <a:xfrm rot="10800000">
            <a:off x="2702163" y="5776996"/>
            <a:ext cx="735000" cy="76535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5" name="Rectangle 484">
            <a:extLst>
              <a:ext uri="{FF2B5EF4-FFF2-40B4-BE49-F238E27FC236}">
                <a16:creationId xmlns:a16="http://schemas.microsoft.com/office/drawing/2014/main" id="{468FE06C-41E8-47A3-98FC-0ACA5DB98BBF}"/>
              </a:ext>
              <a:ext uri="{C183D7F6-B498-43B3-948B-1728B52AA6E4}">
                <adec:decorative xmlns:adec="http://schemas.microsoft.com/office/drawing/2017/decorative" xmlns="" val="1"/>
              </a:ext>
            </a:extLst>
          </p:cNvPr>
          <p:cNvSpPr/>
          <p:nvPr/>
        </p:nvSpPr>
        <p:spPr>
          <a:xfrm rot="10800000">
            <a:off x="6366505" y="4868510"/>
            <a:ext cx="482868" cy="77932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4" name="Freeform: Shape 483">
            <a:extLst>
              <a:ext uri="{FF2B5EF4-FFF2-40B4-BE49-F238E27FC236}">
                <a16:creationId xmlns:a16="http://schemas.microsoft.com/office/drawing/2014/main" id="{BB352E90-0E2D-40CD-B372-590721B3A617}"/>
              </a:ext>
              <a:ext uri="{C183D7F6-B498-43B3-948B-1728B52AA6E4}">
                <adec:decorative xmlns:adec="http://schemas.microsoft.com/office/drawing/2017/decorative" xmlns="" val="1"/>
              </a:ext>
            </a:extLst>
          </p:cNvPr>
          <p:cNvSpPr/>
          <p:nvPr/>
        </p:nvSpPr>
        <p:spPr>
          <a:xfrm rot="10800000">
            <a:off x="6881191" y="4868517"/>
            <a:ext cx="820362" cy="779319"/>
          </a:xfrm>
          <a:custGeom>
            <a:avLst/>
            <a:gdLst>
              <a:gd name="connsiteX0" fmla="*/ 627888 w 627888"/>
              <a:gd name="connsiteY0" fmla="*/ 779319 h 779319"/>
              <a:gd name="connsiteX1" fmla="*/ 0 w 627888"/>
              <a:gd name="connsiteY1" fmla="*/ 779319 h 779319"/>
              <a:gd name="connsiteX2" fmla="*/ 0 w 627888"/>
              <a:gd name="connsiteY2" fmla="*/ 0 h 779319"/>
              <a:gd name="connsiteX3" fmla="*/ 627888 w 627888"/>
              <a:gd name="connsiteY3" fmla="*/ 0 h 779319"/>
              <a:gd name="connsiteX4" fmla="*/ 627888 w 627888"/>
              <a:gd name="connsiteY4" fmla="*/ 779319 h 779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888" h="779319">
                <a:moveTo>
                  <a:pt x="627888" y="779319"/>
                </a:moveTo>
                <a:lnTo>
                  <a:pt x="0" y="779319"/>
                </a:lnTo>
                <a:lnTo>
                  <a:pt x="0" y="0"/>
                </a:lnTo>
                <a:lnTo>
                  <a:pt x="627888" y="0"/>
                </a:lnTo>
                <a:lnTo>
                  <a:pt x="627888" y="779319"/>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5E83D6C8-BA0F-4F9D-A2ED-0ADFF486E62B}"/>
              </a:ext>
              <a:ext uri="{C183D7F6-B498-43B3-948B-1728B52AA6E4}">
                <adec:decorative xmlns:adec="http://schemas.microsoft.com/office/drawing/2017/decorative" xmlns="" val="1"/>
              </a:ext>
            </a:extLst>
          </p:cNvPr>
          <p:cNvSpPr/>
          <p:nvPr/>
        </p:nvSpPr>
        <p:spPr>
          <a:xfrm rot="10800000">
            <a:off x="7733417" y="4868518"/>
            <a:ext cx="986167" cy="779325"/>
          </a:xfrm>
          <a:custGeom>
            <a:avLst/>
            <a:gdLst>
              <a:gd name="connsiteX0" fmla="*/ 986167 w 986167"/>
              <a:gd name="connsiteY0" fmla="*/ 779325 h 779325"/>
              <a:gd name="connsiteX1" fmla="*/ 669900 w 986167"/>
              <a:gd name="connsiteY1" fmla="*/ 779325 h 779325"/>
              <a:gd name="connsiteX2" fmla="*/ 0 w 986167"/>
              <a:gd name="connsiteY2" fmla="*/ 55783 h 779325"/>
              <a:gd name="connsiteX3" fmla="*/ 46356 w 986167"/>
              <a:gd name="connsiteY3" fmla="*/ 30621 h 779325"/>
              <a:gd name="connsiteX4" fmla="*/ 198029 w 986167"/>
              <a:gd name="connsiteY4" fmla="*/ 0 h 779325"/>
              <a:gd name="connsiteX5" fmla="*/ 198029 w 986167"/>
              <a:gd name="connsiteY5" fmla="*/ 1 h 779325"/>
              <a:gd name="connsiteX6" fmla="*/ 198069 w 986167"/>
              <a:gd name="connsiteY6" fmla="*/ 5 h 779325"/>
              <a:gd name="connsiteX7" fmla="*/ 986167 w 986167"/>
              <a:gd name="connsiteY7" fmla="*/ 6 h 779325"/>
              <a:gd name="connsiteX8" fmla="*/ 986167 w 986167"/>
              <a:gd name="connsiteY8" fmla="*/ 779325 h 7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167" h="779325">
                <a:moveTo>
                  <a:pt x="986167" y="779325"/>
                </a:moveTo>
                <a:lnTo>
                  <a:pt x="669900" y="779325"/>
                </a:lnTo>
                <a:lnTo>
                  <a:pt x="0" y="55783"/>
                </a:lnTo>
                <a:lnTo>
                  <a:pt x="46356" y="30621"/>
                </a:lnTo>
                <a:cubicBezTo>
                  <a:pt x="92974" y="10904"/>
                  <a:pt x="144228" y="0"/>
                  <a:pt x="198029" y="0"/>
                </a:cubicBezTo>
                <a:lnTo>
                  <a:pt x="198029" y="1"/>
                </a:lnTo>
                <a:lnTo>
                  <a:pt x="198069" y="5"/>
                </a:lnTo>
                <a:lnTo>
                  <a:pt x="986167" y="6"/>
                </a:lnTo>
                <a:lnTo>
                  <a:pt x="986167" y="77932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82" name="Freeform: Shape 481">
            <a:extLst>
              <a:ext uri="{FF2B5EF4-FFF2-40B4-BE49-F238E27FC236}">
                <a16:creationId xmlns:a16="http://schemas.microsoft.com/office/drawing/2014/main" id="{B24D2670-60B2-4827-9E5A-F8BD3562C5B4}"/>
              </a:ext>
              <a:ext uri="{C183D7F6-B498-43B3-948B-1728B52AA6E4}">
                <adec:decorative xmlns:adec="http://schemas.microsoft.com/office/drawing/2017/decorative" xmlns="" val="1"/>
              </a:ext>
            </a:extLst>
          </p:cNvPr>
          <p:cNvSpPr/>
          <p:nvPr/>
        </p:nvSpPr>
        <p:spPr>
          <a:xfrm rot="10800000">
            <a:off x="10318170" y="4898224"/>
            <a:ext cx="783276" cy="749617"/>
          </a:xfrm>
          <a:custGeom>
            <a:avLst/>
            <a:gdLst>
              <a:gd name="connsiteX0" fmla="*/ 196355 w 992563"/>
              <a:gd name="connsiteY0" fmla="*/ 779327 h 779327"/>
              <a:gd name="connsiteX1" fmla="*/ 0 w 992563"/>
              <a:gd name="connsiteY1" fmla="*/ 779327 h 779327"/>
              <a:gd name="connsiteX2" fmla="*/ 0 w 992563"/>
              <a:gd name="connsiteY2" fmla="*/ 8 h 779327"/>
              <a:gd name="connsiteX3" fmla="*/ 602828 w 992563"/>
              <a:gd name="connsiteY3" fmla="*/ 8 h 779327"/>
              <a:gd name="connsiteX4" fmla="*/ 602903 w 992563"/>
              <a:gd name="connsiteY4" fmla="*/ 0 h 779327"/>
              <a:gd name="connsiteX5" fmla="*/ 602903 w 992563"/>
              <a:gd name="connsiteY5" fmla="*/ 1 h 779327"/>
              <a:gd name="connsiteX6" fmla="*/ 603435 w 992563"/>
              <a:gd name="connsiteY6" fmla="*/ 55 h 779327"/>
              <a:gd name="connsiteX7" fmla="*/ 671877 w 992563"/>
              <a:gd name="connsiteY7" fmla="*/ 6094 h 779327"/>
              <a:gd name="connsiteX8" fmla="*/ 676961 w 992563"/>
              <a:gd name="connsiteY8" fmla="*/ 7467 h 779327"/>
              <a:gd name="connsiteX9" fmla="*/ 681433 w 992563"/>
              <a:gd name="connsiteY9" fmla="*/ 7918 h 779327"/>
              <a:gd name="connsiteX10" fmla="*/ 700222 w 992563"/>
              <a:gd name="connsiteY10" fmla="*/ 13750 h 779327"/>
              <a:gd name="connsiteX11" fmla="*/ 736879 w 992563"/>
              <a:gd name="connsiteY11" fmla="*/ 23652 h 779327"/>
              <a:gd name="connsiteX12" fmla="*/ 746342 w 992563"/>
              <a:gd name="connsiteY12" fmla="*/ 28067 h 779327"/>
              <a:gd name="connsiteX13" fmla="*/ 754576 w 992563"/>
              <a:gd name="connsiteY13" fmla="*/ 30623 h 779327"/>
              <a:gd name="connsiteX14" fmla="*/ 771430 w 992563"/>
              <a:gd name="connsiteY14" fmla="*/ 39771 h 779327"/>
              <a:gd name="connsiteX15" fmla="*/ 796857 w 992563"/>
              <a:gd name="connsiteY15" fmla="*/ 51633 h 779327"/>
              <a:gd name="connsiteX16" fmla="*/ 809767 w 992563"/>
              <a:gd name="connsiteY16" fmla="*/ 60580 h 779327"/>
              <a:gd name="connsiteX17" fmla="*/ 820765 w 992563"/>
              <a:gd name="connsiteY17" fmla="*/ 66549 h 779327"/>
              <a:gd name="connsiteX18" fmla="*/ 833269 w 992563"/>
              <a:gd name="connsiteY18" fmla="*/ 76866 h 779327"/>
              <a:gd name="connsiteX19" fmla="*/ 850761 w 992563"/>
              <a:gd name="connsiteY19" fmla="*/ 88987 h 779327"/>
              <a:gd name="connsiteX20" fmla="*/ 866029 w 992563"/>
              <a:gd name="connsiteY20" fmla="*/ 103895 h 779327"/>
              <a:gd name="connsiteX21" fmla="*/ 878434 w 992563"/>
              <a:gd name="connsiteY21" fmla="*/ 114130 h 779327"/>
              <a:gd name="connsiteX22" fmla="*/ 886402 w 992563"/>
              <a:gd name="connsiteY22" fmla="*/ 123788 h 779327"/>
              <a:gd name="connsiteX23" fmla="*/ 897541 w 992563"/>
              <a:gd name="connsiteY23" fmla="*/ 134664 h 779327"/>
              <a:gd name="connsiteX24" fmla="*/ 913992 w 992563"/>
              <a:gd name="connsiteY24" fmla="*/ 157227 h 779327"/>
              <a:gd name="connsiteX25" fmla="*/ 926015 w 992563"/>
              <a:gd name="connsiteY25" fmla="*/ 171799 h 779327"/>
              <a:gd name="connsiteX26" fmla="*/ 930088 w 992563"/>
              <a:gd name="connsiteY26" fmla="*/ 179303 h 779327"/>
              <a:gd name="connsiteX27" fmla="*/ 936148 w 992563"/>
              <a:gd name="connsiteY27" fmla="*/ 187615 h 779327"/>
              <a:gd name="connsiteX28" fmla="*/ 940197 w 992563"/>
              <a:gd name="connsiteY28" fmla="*/ 197927 h 779327"/>
              <a:gd name="connsiteX29" fmla="*/ 961941 w 992563"/>
              <a:gd name="connsiteY29" fmla="*/ 237988 h 779327"/>
              <a:gd name="connsiteX30" fmla="*/ 968310 w 992563"/>
              <a:gd name="connsiteY30" fmla="*/ 269534 h 779327"/>
              <a:gd name="connsiteX31" fmla="*/ 984644 w 992563"/>
              <a:gd name="connsiteY31" fmla="*/ 311138 h 779327"/>
              <a:gd name="connsiteX32" fmla="*/ 992558 w 992563"/>
              <a:gd name="connsiteY32" fmla="*/ 389636 h 779327"/>
              <a:gd name="connsiteX33" fmla="*/ 992563 w 992563"/>
              <a:gd name="connsiteY33" fmla="*/ 389661 h 779327"/>
              <a:gd name="connsiteX34" fmla="*/ 992563 w 992563"/>
              <a:gd name="connsiteY34" fmla="*/ 593479 h 779327"/>
              <a:gd name="connsiteX35" fmla="*/ 196355 w 992563"/>
              <a:gd name="connsiteY35" fmla="*/ 779327 h 779327"/>
              <a:gd name="connsiteX0" fmla="*/ 196355 w 1003196"/>
              <a:gd name="connsiteY0" fmla="*/ 779327 h 781397"/>
              <a:gd name="connsiteX1" fmla="*/ 0 w 1003196"/>
              <a:gd name="connsiteY1" fmla="*/ 779327 h 781397"/>
              <a:gd name="connsiteX2" fmla="*/ 0 w 1003196"/>
              <a:gd name="connsiteY2" fmla="*/ 8 h 781397"/>
              <a:gd name="connsiteX3" fmla="*/ 602828 w 1003196"/>
              <a:gd name="connsiteY3" fmla="*/ 8 h 781397"/>
              <a:gd name="connsiteX4" fmla="*/ 602903 w 1003196"/>
              <a:gd name="connsiteY4" fmla="*/ 0 h 781397"/>
              <a:gd name="connsiteX5" fmla="*/ 602903 w 1003196"/>
              <a:gd name="connsiteY5" fmla="*/ 1 h 781397"/>
              <a:gd name="connsiteX6" fmla="*/ 603435 w 1003196"/>
              <a:gd name="connsiteY6" fmla="*/ 55 h 781397"/>
              <a:gd name="connsiteX7" fmla="*/ 671877 w 1003196"/>
              <a:gd name="connsiteY7" fmla="*/ 6094 h 781397"/>
              <a:gd name="connsiteX8" fmla="*/ 676961 w 1003196"/>
              <a:gd name="connsiteY8" fmla="*/ 7467 h 781397"/>
              <a:gd name="connsiteX9" fmla="*/ 681433 w 1003196"/>
              <a:gd name="connsiteY9" fmla="*/ 7918 h 781397"/>
              <a:gd name="connsiteX10" fmla="*/ 700222 w 1003196"/>
              <a:gd name="connsiteY10" fmla="*/ 13750 h 781397"/>
              <a:gd name="connsiteX11" fmla="*/ 736879 w 1003196"/>
              <a:gd name="connsiteY11" fmla="*/ 23652 h 781397"/>
              <a:gd name="connsiteX12" fmla="*/ 746342 w 1003196"/>
              <a:gd name="connsiteY12" fmla="*/ 28067 h 781397"/>
              <a:gd name="connsiteX13" fmla="*/ 754576 w 1003196"/>
              <a:gd name="connsiteY13" fmla="*/ 30623 h 781397"/>
              <a:gd name="connsiteX14" fmla="*/ 771430 w 1003196"/>
              <a:gd name="connsiteY14" fmla="*/ 39771 h 781397"/>
              <a:gd name="connsiteX15" fmla="*/ 796857 w 1003196"/>
              <a:gd name="connsiteY15" fmla="*/ 51633 h 781397"/>
              <a:gd name="connsiteX16" fmla="*/ 809767 w 1003196"/>
              <a:gd name="connsiteY16" fmla="*/ 60580 h 781397"/>
              <a:gd name="connsiteX17" fmla="*/ 820765 w 1003196"/>
              <a:gd name="connsiteY17" fmla="*/ 66549 h 781397"/>
              <a:gd name="connsiteX18" fmla="*/ 833269 w 1003196"/>
              <a:gd name="connsiteY18" fmla="*/ 76866 h 781397"/>
              <a:gd name="connsiteX19" fmla="*/ 850761 w 1003196"/>
              <a:gd name="connsiteY19" fmla="*/ 88987 h 781397"/>
              <a:gd name="connsiteX20" fmla="*/ 866029 w 1003196"/>
              <a:gd name="connsiteY20" fmla="*/ 103895 h 781397"/>
              <a:gd name="connsiteX21" fmla="*/ 878434 w 1003196"/>
              <a:gd name="connsiteY21" fmla="*/ 114130 h 781397"/>
              <a:gd name="connsiteX22" fmla="*/ 886402 w 1003196"/>
              <a:gd name="connsiteY22" fmla="*/ 123788 h 781397"/>
              <a:gd name="connsiteX23" fmla="*/ 897541 w 1003196"/>
              <a:gd name="connsiteY23" fmla="*/ 134664 h 781397"/>
              <a:gd name="connsiteX24" fmla="*/ 913992 w 1003196"/>
              <a:gd name="connsiteY24" fmla="*/ 157227 h 781397"/>
              <a:gd name="connsiteX25" fmla="*/ 926015 w 1003196"/>
              <a:gd name="connsiteY25" fmla="*/ 171799 h 781397"/>
              <a:gd name="connsiteX26" fmla="*/ 930088 w 1003196"/>
              <a:gd name="connsiteY26" fmla="*/ 179303 h 781397"/>
              <a:gd name="connsiteX27" fmla="*/ 936148 w 1003196"/>
              <a:gd name="connsiteY27" fmla="*/ 187615 h 781397"/>
              <a:gd name="connsiteX28" fmla="*/ 940197 w 1003196"/>
              <a:gd name="connsiteY28" fmla="*/ 197927 h 781397"/>
              <a:gd name="connsiteX29" fmla="*/ 961941 w 1003196"/>
              <a:gd name="connsiteY29" fmla="*/ 237988 h 781397"/>
              <a:gd name="connsiteX30" fmla="*/ 968310 w 1003196"/>
              <a:gd name="connsiteY30" fmla="*/ 269534 h 781397"/>
              <a:gd name="connsiteX31" fmla="*/ 984644 w 1003196"/>
              <a:gd name="connsiteY31" fmla="*/ 311138 h 781397"/>
              <a:gd name="connsiteX32" fmla="*/ 992558 w 1003196"/>
              <a:gd name="connsiteY32" fmla="*/ 389636 h 781397"/>
              <a:gd name="connsiteX33" fmla="*/ 992563 w 1003196"/>
              <a:gd name="connsiteY33" fmla="*/ 389661 h 781397"/>
              <a:gd name="connsiteX34" fmla="*/ 1003196 w 1003196"/>
              <a:gd name="connsiteY34" fmla="*/ 781397 h 781397"/>
              <a:gd name="connsiteX35" fmla="*/ 196355 w 1003196"/>
              <a:gd name="connsiteY35" fmla="*/ 779327 h 781397"/>
              <a:gd name="connsiteX0" fmla="*/ 196355 w 1003196"/>
              <a:gd name="connsiteY0" fmla="*/ 779327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 name="connsiteX35" fmla="*/ 196355 w 1003196"/>
              <a:gd name="connsiteY35" fmla="*/ 779327 h 779327"/>
              <a:gd name="connsiteX0" fmla="*/ 1003196 w 1003196"/>
              <a:gd name="connsiteY0" fmla="*/ 775869 h 779327"/>
              <a:gd name="connsiteX1" fmla="*/ 0 w 1003196"/>
              <a:gd name="connsiteY1" fmla="*/ 779327 h 779327"/>
              <a:gd name="connsiteX2" fmla="*/ 0 w 1003196"/>
              <a:gd name="connsiteY2" fmla="*/ 8 h 779327"/>
              <a:gd name="connsiteX3" fmla="*/ 602828 w 1003196"/>
              <a:gd name="connsiteY3" fmla="*/ 8 h 779327"/>
              <a:gd name="connsiteX4" fmla="*/ 602903 w 1003196"/>
              <a:gd name="connsiteY4" fmla="*/ 0 h 779327"/>
              <a:gd name="connsiteX5" fmla="*/ 602903 w 1003196"/>
              <a:gd name="connsiteY5" fmla="*/ 1 h 779327"/>
              <a:gd name="connsiteX6" fmla="*/ 603435 w 1003196"/>
              <a:gd name="connsiteY6" fmla="*/ 55 h 779327"/>
              <a:gd name="connsiteX7" fmla="*/ 671877 w 1003196"/>
              <a:gd name="connsiteY7" fmla="*/ 6094 h 779327"/>
              <a:gd name="connsiteX8" fmla="*/ 676961 w 1003196"/>
              <a:gd name="connsiteY8" fmla="*/ 7467 h 779327"/>
              <a:gd name="connsiteX9" fmla="*/ 681433 w 1003196"/>
              <a:gd name="connsiteY9" fmla="*/ 7918 h 779327"/>
              <a:gd name="connsiteX10" fmla="*/ 700222 w 1003196"/>
              <a:gd name="connsiteY10" fmla="*/ 13750 h 779327"/>
              <a:gd name="connsiteX11" fmla="*/ 736879 w 1003196"/>
              <a:gd name="connsiteY11" fmla="*/ 23652 h 779327"/>
              <a:gd name="connsiteX12" fmla="*/ 746342 w 1003196"/>
              <a:gd name="connsiteY12" fmla="*/ 28067 h 779327"/>
              <a:gd name="connsiteX13" fmla="*/ 754576 w 1003196"/>
              <a:gd name="connsiteY13" fmla="*/ 30623 h 779327"/>
              <a:gd name="connsiteX14" fmla="*/ 771430 w 1003196"/>
              <a:gd name="connsiteY14" fmla="*/ 39771 h 779327"/>
              <a:gd name="connsiteX15" fmla="*/ 796857 w 1003196"/>
              <a:gd name="connsiteY15" fmla="*/ 51633 h 779327"/>
              <a:gd name="connsiteX16" fmla="*/ 809767 w 1003196"/>
              <a:gd name="connsiteY16" fmla="*/ 60580 h 779327"/>
              <a:gd name="connsiteX17" fmla="*/ 820765 w 1003196"/>
              <a:gd name="connsiteY17" fmla="*/ 66549 h 779327"/>
              <a:gd name="connsiteX18" fmla="*/ 833269 w 1003196"/>
              <a:gd name="connsiteY18" fmla="*/ 76866 h 779327"/>
              <a:gd name="connsiteX19" fmla="*/ 850761 w 1003196"/>
              <a:gd name="connsiteY19" fmla="*/ 88987 h 779327"/>
              <a:gd name="connsiteX20" fmla="*/ 866029 w 1003196"/>
              <a:gd name="connsiteY20" fmla="*/ 103895 h 779327"/>
              <a:gd name="connsiteX21" fmla="*/ 878434 w 1003196"/>
              <a:gd name="connsiteY21" fmla="*/ 114130 h 779327"/>
              <a:gd name="connsiteX22" fmla="*/ 886402 w 1003196"/>
              <a:gd name="connsiteY22" fmla="*/ 123788 h 779327"/>
              <a:gd name="connsiteX23" fmla="*/ 897541 w 1003196"/>
              <a:gd name="connsiteY23" fmla="*/ 134664 h 779327"/>
              <a:gd name="connsiteX24" fmla="*/ 913992 w 1003196"/>
              <a:gd name="connsiteY24" fmla="*/ 157227 h 779327"/>
              <a:gd name="connsiteX25" fmla="*/ 926015 w 1003196"/>
              <a:gd name="connsiteY25" fmla="*/ 171799 h 779327"/>
              <a:gd name="connsiteX26" fmla="*/ 930088 w 1003196"/>
              <a:gd name="connsiteY26" fmla="*/ 179303 h 779327"/>
              <a:gd name="connsiteX27" fmla="*/ 936148 w 1003196"/>
              <a:gd name="connsiteY27" fmla="*/ 187615 h 779327"/>
              <a:gd name="connsiteX28" fmla="*/ 940197 w 1003196"/>
              <a:gd name="connsiteY28" fmla="*/ 197927 h 779327"/>
              <a:gd name="connsiteX29" fmla="*/ 961941 w 1003196"/>
              <a:gd name="connsiteY29" fmla="*/ 237988 h 779327"/>
              <a:gd name="connsiteX30" fmla="*/ 968310 w 1003196"/>
              <a:gd name="connsiteY30" fmla="*/ 269534 h 779327"/>
              <a:gd name="connsiteX31" fmla="*/ 984644 w 1003196"/>
              <a:gd name="connsiteY31" fmla="*/ 311138 h 779327"/>
              <a:gd name="connsiteX32" fmla="*/ 992558 w 1003196"/>
              <a:gd name="connsiteY32" fmla="*/ 389636 h 779327"/>
              <a:gd name="connsiteX33" fmla="*/ 992563 w 1003196"/>
              <a:gd name="connsiteY33" fmla="*/ 389661 h 779327"/>
              <a:gd name="connsiteX34" fmla="*/ 1003196 w 1003196"/>
              <a:gd name="connsiteY34" fmla="*/ 775869 h 7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03196" h="779327">
                <a:moveTo>
                  <a:pt x="1003196" y="775869"/>
                </a:moveTo>
                <a:lnTo>
                  <a:pt x="0" y="779327"/>
                </a:lnTo>
                <a:lnTo>
                  <a:pt x="0" y="8"/>
                </a:lnTo>
                <a:lnTo>
                  <a:pt x="602828" y="8"/>
                </a:lnTo>
                <a:cubicBezTo>
                  <a:pt x="602853" y="5"/>
                  <a:pt x="602878" y="3"/>
                  <a:pt x="602903" y="0"/>
                </a:cubicBezTo>
                <a:lnTo>
                  <a:pt x="602903" y="1"/>
                </a:lnTo>
                <a:lnTo>
                  <a:pt x="603435" y="55"/>
                </a:lnTo>
                <a:lnTo>
                  <a:pt x="671877" y="6094"/>
                </a:lnTo>
                <a:lnTo>
                  <a:pt x="676961" y="7467"/>
                </a:lnTo>
                <a:lnTo>
                  <a:pt x="681433" y="7918"/>
                </a:lnTo>
                <a:lnTo>
                  <a:pt x="700222" y="13750"/>
                </a:lnTo>
                <a:lnTo>
                  <a:pt x="736879" y="23652"/>
                </a:lnTo>
                <a:lnTo>
                  <a:pt x="746342" y="28067"/>
                </a:lnTo>
                <a:lnTo>
                  <a:pt x="754576" y="30623"/>
                </a:lnTo>
                <a:lnTo>
                  <a:pt x="771430" y="39771"/>
                </a:lnTo>
                <a:lnTo>
                  <a:pt x="796857" y="51633"/>
                </a:lnTo>
                <a:lnTo>
                  <a:pt x="809767" y="60580"/>
                </a:lnTo>
                <a:lnTo>
                  <a:pt x="820765" y="66549"/>
                </a:lnTo>
                <a:lnTo>
                  <a:pt x="833269" y="76866"/>
                </a:lnTo>
                <a:lnTo>
                  <a:pt x="850761" y="88987"/>
                </a:lnTo>
                <a:lnTo>
                  <a:pt x="866029" y="103895"/>
                </a:lnTo>
                <a:lnTo>
                  <a:pt x="878434" y="114130"/>
                </a:lnTo>
                <a:lnTo>
                  <a:pt x="886402" y="123788"/>
                </a:lnTo>
                <a:lnTo>
                  <a:pt x="897541" y="134664"/>
                </a:lnTo>
                <a:lnTo>
                  <a:pt x="913992" y="157227"/>
                </a:lnTo>
                <a:lnTo>
                  <a:pt x="926015" y="171799"/>
                </a:lnTo>
                <a:lnTo>
                  <a:pt x="930088" y="179303"/>
                </a:lnTo>
                <a:lnTo>
                  <a:pt x="936148" y="187615"/>
                </a:lnTo>
                <a:lnTo>
                  <a:pt x="940197" y="197927"/>
                </a:lnTo>
                <a:lnTo>
                  <a:pt x="961941" y="237988"/>
                </a:lnTo>
                <a:lnTo>
                  <a:pt x="968310" y="269534"/>
                </a:lnTo>
                <a:lnTo>
                  <a:pt x="984644" y="311138"/>
                </a:lnTo>
                <a:lnTo>
                  <a:pt x="992558" y="389636"/>
                </a:lnTo>
                <a:cubicBezTo>
                  <a:pt x="992560" y="389644"/>
                  <a:pt x="992561" y="389653"/>
                  <a:pt x="992563" y="389661"/>
                </a:cubicBezTo>
                <a:lnTo>
                  <a:pt x="1003196" y="77586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59FC0C21-0BD1-4A68-8EA9-37B99C57278A}"/>
              </a:ext>
              <a:ext uri="{C183D7F6-B498-43B3-948B-1728B52AA6E4}">
                <adec:decorative xmlns:adec="http://schemas.microsoft.com/office/drawing/2017/decorative" xmlns="" val="1"/>
              </a:ext>
            </a:extLst>
          </p:cNvPr>
          <p:cNvSpPr/>
          <p:nvPr/>
        </p:nvSpPr>
        <p:spPr>
          <a:xfrm rot="10800000">
            <a:off x="11137704" y="4897294"/>
            <a:ext cx="1054295" cy="750544"/>
          </a:xfrm>
          <a:custGeom>
            <a:avLst/>
            <a:gdLst>
              <a:gd name="connsiteX0" fmla="*/ 853834 w 853834"/>
              <a:gd name="connsiteY0" fmla="*/ 779320 h 779320"/>
              <a:gd name="connsiteX1" fmla="*/ 0 w 853834"/>
              <a:gd name="connsiteY1" fmla="*/ 779320 h 779320"/>
              <a:gd name="connsiteX2" fmla="*/ 0 w 853834"/>
              <a:gd name="connsiteY2" fmla="*/ 0 h 779320"/>
              <a:gd name="connsiteX3" fmla="*/ 853834 w 853834"/>
              <a:gd name="connsiteY3" fmla="*/ 1 h 779320"/>
            </a:gdLst>
            <a:ahLst/>
            <a:cxnLst>
              <a:cxn ang="0">
                <a:pos x="connsiteX0" y="connsiteY0"/>
              </a:cxn>
              <a:cxn ang="0">
                <a:pos x="connsiteX1" y="connsiteY1"/>
              </a:cxn>
              <a:cxn ang="0">
                <a:pos x="connsiteX2" y="connsiteY2"/>
              </a:cxn>
              <a:cxn ang="0">
                <a:pos x="connsiteX3" y="connsiteY3"/>
              </a:cxn>
            </a:cxnLst>
            <a:rect l="l" t="t" r="r" b="b"/>
            <a:pathLst>
              <a:path w="853834" h="779320">
                <a:moveTo>
                  <a:pt x="853834" y="779320"/>
                </a:moveTo>
                <a:lnTo>
                  <a:pt x="0" y="779320"/>
                </a:lnTo>
                <a:lnTo>
                  <a:pt x="0" y="0"/>
                </a:lnTo>
                <a:lnTo>
                  <a:pt x="853834" y="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Title 6" descr="No migration is linear of simple">
            <a:extLst>
              <a:ext uri="{FF2B5EF4-FFF2-40B4-BE49-F238E27FC236}">
                <a16:creationId xmlns:a16="http://schemas.microsoft.com/office/drawing/2014/main" id="{32C60991-C9B6-4930-8E8F-6CD1767D873D}"/>
              </a:ext>
            </a:extLst>
          </p:cNvPr>
          <p:cNvSpPr txBox="1">
            <a:spLocks/>
          </p:cNvSpPr>
          <p:nvPr/>
        </p:nvSpPr>
        <p:spPr>
          <a:xfrm>
            <a:off x="414867" y="119617"/>
            <a:ext cx="11079606" cy="488538"/>
          </a:xfrm>
          <a:prstGeom prst="rect">
            <a:avLst/>
          </a:prstGeom>
        </p:spPr>
        <p:txBody>
          <a:bodyPr vert="horz" lIns="0" tIns="44821" rIns="89642" bIns="44821" rtlCol="0" anchor="t">
            <a:noAutofit/>
          </a:bodyPr>
          <a:lstStyle>
            <a:lvl1pPr algn="l" defTabSz="930087" rtl="0" eaLnBrk="1" latinLnBrk="0" hangingPunct="1">
              <a:lnSpc>
                <a:spcPct val="90000"/>
              </a:lnSpc>
              <a:spcBef>
                <a:spcPct val="0"/>
              </a:spcBef>
              <a:buNone/>
              <a:defRPr sz="3599" kern="1200">
                <a:solidFill>
                  <a:schemeClr val="bg2"/>
                </a:solidFill>
                <a:latin typeface="+mj-lt"/>
                <a:ea typeface="+mj-ea"/>
                <a:cs typeface="+mj-cs"/>
              </a:defRPr>
            </a:lvl1pPr>
          </a:lstStyle>
          <a:p>
            <a:pPr marL="0" marR="0" lvl="0" indent="0" algn="l" defTabSz="911764" rtl="0" eaLnBrk="1" fontAlgn="auto" latinLnBrk="0" hangingPunct="1">
              <a:lnSpc>
                <a:spcPct val="90000"/>
              </a:lnSpc>
              <a:spcBef>
                <a:spcPct val="0"/>
              </a:spcBef>
              <a:spcAft>
                <a:spcPts val="0"/>
              </a:spcAft>
              <a:buClrTx/>
              <a:buSzTx/>
              <a:buFontTx/>
              <a:buNone/>
              <a:tabLst/>
              <a:defRPr/>
            </a:pPr>
            <a:endParaRPr kumimoji="0" lang="en-US" sz="3528" b="0" i="0" u="none" strike="noStrike" kern="1200" cap="none" spc="0" normalizeH="0" baseline="0" noProof="0">
              <a:ln>
                <a:noFill/>
              </a:ln>
              <a:solidFill>
                <a:prstClr val="white"/>
              </a:solidFill>
              <a:effectLst/>
              <a:uLnTx/>
              <a:uFillTx/>
              <a:latin typeface="Segoe UI Semibold"/>
              <a:ea typeface="+mj-ea"/>
              <a:cs typeface="+mj-cs"/>
            </a:endParaRP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 uri="{C183D7F6-B498-43B3-948B-1728B52AA6E4}">
                <adec:decorative xmlns:adec="http://schemas.microsoft.com/office/drawing/2017/decorative" xmlns="" val="1"/>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76" name="Rectangle 275">
            <a:extLst>
              <a:ext uri="{FF2B5EF4-FFF2-40B4-BE49-F238E27FC236}">
                <a16:creationId xmlns:a16="http://schemas.microsoft.com/office/drawing/2014/main" id="{38556C6F-319A-4EE2-8E1C-31A30BC7382B}"/>
              </a:ext>
            </a:extLst>
          </p:cNvPr>
          <p:cNvSpPr/>
          <p:nvPr/>
        </p:nvSpPr>
        <p:spPr>
          <a:xfrm>
            <a:off x="71977"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High level business strategy</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78" name="Rectangle 277">
            <a:extLst>
              <a:ext uri="{FF2B5EF4-FFF2-40B4-BE49-F238E27FC236}">
                <a16:creationId xmlns:a16="http://schemas.microsoft.com/office/drawing/2014/main" id="{874F72B9-2D7F-41FD-8069-77C56D8DAFAB}"/>
              </a:ext>
            </a:extLst>
          </p:cNvPr>
          <p:cNvSpPr/>
          <p:nvPr/>
        </p:nvSpPr>
        <p:spPr>
          <a:xfrm>
            <a:off x="786238"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Key stakehold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sign off</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0" name="Rectangle 279">
            <a:extLst>
              <a:ext uri="{FF2B5EF4-FFF2-40B4-BE49-F238E27FC236}">
                <a16:creationId xmlns:a16="http://schemas.microsoft.com/office/drawing/2014/main" id="{3471A227-4E4A-4AEB-A173-F0B67F174DC3}"/>
              </a:ext>
            </a:extLst>
          </p:cNvPr>
          <p:cNvSpPr/>
          <p:nvPr/>
        </p:nvSpPr>
        <p:spPr>
          <a:xfrm>
            <a:off x="1530754" y="3327226"/>
            <a:ext cx="711866" cy="68462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5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16">
            <a:extLst>
              <a:ext uri="{FF2B5EF4-FFF2-40B4-BE49-F238E27FC236}">
                <a16:creationId xmlns:a16="http://schemas.microsoft.com/office/drawing/2014/main" id="{133AB022-284E-4AE4-97BF-FC7E251BE05E}"/>
              </a:ext>
            </a:extLst>
          </p:cNvPr>
          <p:cNvSpPr>
            <a:spLocks/>
          </p:cNvSpPr>
          <p:nvPr/>
        </p:nvSpPr>
        <p:spPr bwMode="auto">
          <a:xfrm>
            <a:off x="1493568" y="5261063"/>
            <a:ext cx="776096" cy="402207"/>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operations partner</a:t>
            </a:r>
          </a:p>
        </p:txBody>
      </p:sp>
      <p:sp>
        <p:nvSpPr>
          <p:cNvPr id="282" name="Rectangle 17">
            <a:extLst>
              <a:ext uri="{FF2B5EF4-FFF2-40B4-BE49-F238E27FC236}">
                <a16:creationId xmlns:a16="http://schemas.microsoft.com/office/drawing/2014/main" id="{C495EE56-58FF-40A9-8480-9DBFEAAE5645}"/>
              </a:ext>
            </a:extLst>
          </p:cNvPr>
          <p:cNvSpPr>
            <a:spLocks noChangeArrowheads="1"/>
          </p:cNvSpPr>
          <p:nvPr/>
        </p:nvSpPr>
        <p:spPr bwMode="auto">
          <a:xfrm>
            <a:off x="1493568" y="4222835"/>
            <a:ext cx="776096" cy="402207"/>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ustom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artner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contract</a:t>
            </a:r>
          </a:p>
        </p:txBody>
      </p:sp>
      <p:sp>
        <p:nvSpPr>
          <p:cNvPr id="283" name="Rectangle 18">
            <a:extLst>
              <a:ext uri="{FF2B5EF4-FFF2-40B4-BE49-F238E27FC236}">
                <a16:creationId xmlns:a16="http://schemas.microsoft.com/office/drawing/2014/main" id="{DCC7EF4E-3773-4E14-A2EB-EFF02C624A64}"/>
              </a:ext>
            </a:extLst>
          </p:cNvPr>
          <p:cNvSpPr>
            <a:spLocks noChangeArrowheads="1"/>
          </p:cNvSpPr>
          <p:nvPr/>
        </p:nvSpPr>
        <p:spPr bwMode="auto">
          <a:xfrm>
            <a:off x="1493568" y="4782590"/>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artner</a:t>
            </a:r>
          </a:p>
        </p:txBody>
      </p:sp>
      <p:sp>
        <p:nvSpPr>
          <p:cNvPr id="284" name="TextBox 283">
            <a:extLst>
              <a:ext uri="{FF2B5EF4-FFF2-40B4-BE49-F238E27FC236}">
                <a16:creationId xmlns:a16="http://schemas.microsoft.com/office/drawing/2014/main" id="{E3DA7819-099D-4528-945B-E1A2B6A507DB}"/>
              </a:ext>
            </a:extLst>
          </p:cNvPr>
          <p:cNvSpPr txBox="1"/>
          <p:nvPr/>
        </p:nvSpPr>
        <p:spPr>
          <a:xfrm>
            <a:off x="1526327" y="5810342"/>
            <a:ext cx="711866" cy="56421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factory offering</a:t>
            </a:r>
          </a:p>
        </p:txBody>
      </p:sp>
      <p:sp>
        <p:nvSpPr>
          <p:cNvPr id="285" name="TextBox 284">
            <a:extLst>
              <a:ext uri="{FF2B5EF4-FFF2-40B4-BE49-F238E27FC236}">
                <a16:creationId xmlns:a16="http://schemas.microsoft.com/office/drawing/2014/main" id="{1F37BFB3-A299-4B0B-9219-1AFEC955B3DF}"/>
              </a:ext>
            </a:extLst>
          </p:cNvPr>
          <p:cNvSpPr txBox="1"/>
          <p:nvPr/>
        </p:nvSpPr>
        <p:spPr>
          <a:xfrm>
            <a:off x="2258512" y="5920742"/>
            <a:ext cx="4582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can</a:t>
            </a:r>
          </a:p>
        </p:txBody>
      </p:sp>
      <p:sp>
        <p:nvSpPr>
          <p:cNvPr id="286" name="TextBox 285">
            <a:extLst>
              <a:ext uri="{FF2B5EF4-FFF2-40B4-BE49-F238E27FC236}">
                <a16:creationId xmlns:a16="http://schemas.microsoft.com/office/drawing/2014/main" id="{4370203E-4079-43DC-B43B-4E9CA3F4215C}"/>
              </a:ext>
            </a:extLst>
          </p:cNvPr>
          <p:cNvSpPr txBox="1"/>
          <p:nvPr/>
        </p:nvSpPr>
        <p:spPr>
          <a:xfrm>
            <a:off x="2705673" y="5920742"/>
            <a:ext cx="71186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288" name="Rectangle 17">
            <a:extLst>
              <a:ext uri="{FF2B5EF4-FFF2-40B4-BE49-F238E27FC236}">
                <a16:creationId xmlns:a16="http://schemas.microsoft.com/office/drawing/2014/main" id="{8108A2C6-82CF-4468-8B87-7CD33A06BE9C}"/>
              </a:ext>
            </a:extLst>
          </p:cNvPr>
          <p:cNvSpPr>
            <a:spLocks noChangeArrowheads="1"/>
          </p:cNvSpPr>
          <p:nvPr/>
        </p:nvSpPr>
        <p:spPr bwMode="auto">
          <a:xfrm>
            <a:off x="3476668" y="4590991"/>
            <a:ext cx="776096" cy="574084"/>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ilot applications and VM identification</a:t>
            </a:r>
          </a:p>
        </p:txBody>
      </p:sp>
      <p:sp>
        <p:nvSpPr>
          <p:cNvPr id="289" name="Rectangle 18">
            <a:extLst>
              <a:ext uri="{FF2B5EF4-FFF2-40B4-BE49-F238E27FC236}">
                <a16:creationId xmlns:a16="http://schemas.microsoft.com/office/drawing/2014/main" id="{BF8EB612-D0B7-42AA-A1F4-A6C062EBB23E}"/>
              </a:ext>
            </a:extLst>
          </p:cNvPr>
          <p:cNvSpPr>
            <a:spLocks noChangeArrowheads="1"/>
          </p:cNvSpPr>
          <p:nvPr/>
        </p:nvSpPr>
        <p:spPr bwMode="auto">
          <a:xfrm>
            <a:off x="3477766" y="5257182"/>
            <a:ext cx="769114" cy="43550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argeted scope</a:t>
            </a:r>
          </a:p>
        </p:txBody>
      </p:sp>
      <p:sp>
        <p:nvSpPr>
          <p:cNvPr id="295" name="Rectangle 294">
            <a:extLst>
              <a:ext uri="{FF2B5EF4-FFF2-40B4-BE49-F238E27FC236}">
                <a16:creationId xmlns:a16="http://schemas.microsoft.com/office/drawing/2014/main" id="{FEA16CD2-DB21-4698-94DD-B780015F3164}"/>
              </a:ext>
            </a:extLst>
          </p:cNvPr>
          <p:cNvSpPr/>
          <p:nvPr/>
        </p:nvSpPr>
        <p:spPr>
          <a:xfrm>
            <a:off x="3476667" y="3168161"/>
            <a:ext cx="776096" cy="469526"/>
          </a:xfrm>
          <a:prstGeom prst="rect">
            <a:avLst/>
          </a:prstGeom>
          <a:solidFill>
            <a:schemeClr val="accent3"/>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Project management resources</a:t>
            </a:r>
          </a:p>
        </p:txBody>
      </p:sp>
      <p:sp>
        <p:nvSpPr>
          <p:cNvPr id="296" name="Rectangle 295">
            <a:extLst>
              <a:ext uri="{FF2B5EF4-FFF2-40B4-BE49-F238E27FC236}">
                <a16:creationId xmlns:a16="http://schemas.microsoft.com/office/drawing/2014/main" id="{BBC45C29-5EA5-4130-998D-A9662FC686C8}"/>
              </a:ext>
            </a:extLst>
          </p:cNvPr>
          <p:cNvSpPr/>
          <p:nvPr/>
        </p:nvSpPr>
        <p:spPr>
          <a:xfrm>
            <a:off x="3476668" y="2795362"/>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Technical resources</a:t>
            </a:r>
          </a:p>
        </p:txBody>
      </p:sp>
      <p:sp>
        <p:nvSpPr>
          <p:cNvPr id="297" name="Rectangle 296">
            <a:extLst>
              <a:ext uri="{FF2B5EF4-FFF2-40B4-BE49-F238E27FC236}">
                <a16:creationId xmlns:a16="http://schemas.microsoft.com/office/drawing/2014/main" id="{0593FBB1-9D1D-4EE9-995D-E6C48F5F85AC}"/>
              </a:ext>
            </a:extLst>
          </p:cNvPr>
          <p:cNvSpPr/>
          <p:nvPr/>
        </p:nvSpPr>
        <p:spPr>
          <a:xfrm>
            <a:off x="3476668" y="2500703"/>
            <a:ext cx="776096" cy="291765"/>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plan</a:t>
            </a:r>
          </a:p>
        </p:txBody>
      </p:sp>
      <p:sp>
        <p:nvSpPr>
          <p:cNvPr id="304" name="Rectangle 303">
            <a:extLst>
              <a:ext uri="{FF2B5EF4-FFF2-40B4-BE49-F238E27FC236}">
                <a16:creationId xmlns:a16="http://schemas.microsoft.com/office/drawing/2014/main" id="{08AAD164-0429-4293-89B1-0517D6D19DE6}"/>
              </a:ext>
            </a:extLst>
          </p:cNvPr>
          <p:cNvSpPr/>
          <p:nvPr/>
        </p:nvSpPr>
        <p:spPr>
          <a:xfrm>
            <a:off x="3436240" y="1795898"/>
            <a:ext cx="857223"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305" name="Rectangle 304">
            <a:extLst>
              <a:ext uri="{FF2B5EF4-FFF2-40B4-BE49-F238E27FC236}">
                <a16:creationId xmlns:a16="http://schemas.microsoft.com/office/drawing/2014/main" id="{F67A5BD9-7A0C-4820-8549-67CACE929823}"/>
              </a:ext>
            </a:extLst>
          </p:cNvPr>
          <p:cNvSpPr/>
          <p:nvPr/>
        </p:nvSpPr>
        <p:spPr>
          <a:xfrm>
            <a:off x="4335784"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Azure Foundations</a:t>
            </a:r>
          </a:p>
        </p:txBody>
      </p:sp>
      <p:sp>
        <p:nvSpPr>
          <p:cNvPr id="306" name="Rectangle 305">
            <a:extLst>
              <a:ext uri="{FF2B5EF4-FFF2-40B4-BE49-F238E27FC236}">
                <a16:creationId xmlns:a16="http://schemas.microsoft.com/office/drawing/2014/main" id="{C4326E40-C1B4-4F18-A286-1F8B2D0C6D97}"/>
              </a:ext>
            </a:extLst>
          </p:cNvPr>
          <p:cNvSpPr/>
          <p:nvPr/>
        </p:nvSpPr>
        <p:spPr>
          <a:xfrm>
            <a:off x="5097633" y="1766081"/>
            <a:ext cx="711866" cy="59134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training</a:t>
            </a:r>
          </a:p>
        </p:txBody>
      </p:sp>
      <p:sp>
        <p:nvSpPr>
          <p:cNvPr id="307" name="Rectangle 306">
            <a:extLst>
              <a:ext uri="{FF2B5EF4-FFF2-40B4-BE49-F238E27FC236}">
                <a16:creationId xmlns:a16="http://schemas.microsoft.com/office/drawing/2014/main" id="{29563319-4C88-47EA-8556-EEA002B8456F}"/>
              </a:ext>
            </a:extLst>
          </p:cNvPr>
          <p:cNvSpPr/>
          <p:nvPr/>
        </p:nvSpPr>
        <p:spPr>
          <a:xfrm>
            <a:off x="5549700" y="2267931"/>
            <a:ext cx="78651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308" name="Rectangle 307">
            <a:extLst>
              <a:ext uri="{FF2B5EF4-FFF2-40B4-BE49-F238E27FC236}">
                <a16:creationId xmlns:a16="http://schemas.microsoft.com/office/drawing/2014/main" id="{FE402A5B-9BEF-419B-97E5-03D434D66357}"/>
              </a:ext>
            </a:extLst>
          </p:cNvPr>
          <p:cNvSpPr/>
          <p:nvPr/>
        </p:nvSpPr>
        <p:spPr>
          <a:xfrm>
            <a:off x="5564979" y="2685561"/>
            <a:ext cx="776096" cy="586566"/>
          </a:xfrm>
          <a:prstGeom prst="rect">
            <a:avLst/>
          </a:prstGeom>
          <a:no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Cloud Strategy</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am In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Place (CDE)</a:t>
            </a:r>
          </a:p>
        </p:txBody>
      </p:sp>
      <p:sp>
        <p:nvSpPr>
          <p:cNvPr id="309" name="Rectangle 308">
            <a:extLst>
              <a:ext uri="{FF2B5EF4-FFF2-40B4-BE49-F238E27FC236}">
                <a16:creationId xmlns:a16="http://schemas.microsoft.com/office/drawing/2014/main" id="{E23ABFC0-0D2D-4BF7-B93C-C206FCF17DA7}"/>
              </a:ext>
            </a:extLst>
          </p:cNvPr>
          <p:cNvSpPr/>
          <p:nvPr/>
        </p:nvSpPr>
        <p:spPr>
          <a:xfrm>
            <a:off x="5555040" y="3312678"/>
            <a:ext cx="776096"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Subscription design</a:t>
            </a:r>
          </a:p>
        </p:txBody>
      </p:sp>
      <p:sp>
        <p:nvSpPr>
          <p:cNvPr id="310" name="Rectangle 309">
            <a:extLst>
              <a:ext uri="{FF2B5EF4-FFF2-40B4-BE49-F238E27FC236}">
                <a16:creationId xmlns:a16="http://schemas.microsoft.com/office/drawing/2014/main" id="{B41F77CE-E336-46B4-AD12-E301AE99F976}"/>
              </a:ext>
            </a:extLst>
          </p:cNvPr>
          <p:cNvSpPr/>
          <p:nvPr/>
        </p:nvSpPr>
        <p:spPr>
          <a:xfrm>
            <a:off x="5555040" y="3715785"/>
            <a:ext cx="776096" cy="256136"/>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Governance</a:t>
            </a:r>
          </a:p>
        </p:txBody>
      </p:sp>
      <p:sp>
        <p:nvSpPr>
          <p:cNvPr id="311" name="Rectangle 310">
            <a:extLst>
              <a:ext uri="{FF2B5EF4-FFF2-40B4-BE49-F238E27FC236}">
                <a16:creationId xmlns:a16="http://schemas.microsoft.com/office/drawing/2014/main" id="{A70905CA-64C0-433B-82A9-F6BFC6DC309D}"/>
              </a:ext>
            </a:extLst>
          </p:cNvPr>
          <p:cNvSpPr/>
          <p:nvPr/>
        </p:nvSpPr>
        <p:spPr>
          <a:xfrm>
            <a:off x="5555040" y="4014271"/>
            <a:ext cx="776096" cy="27149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Networking</a:t>
            </a:r>
          </a:p>
        </p:txBody>
      </p:sp>
      <p:sp>
        <p:nvSpPr>
          <p:cNvPr id="312" name="Rectangle 17">
            <a:extLst>
              <a:ext uri="{FF2B5EF4-FFF2-40B4-BE49-F238E27FC236}">
                <a16:creationId xmlns:a16="http://schemas.microsoft.com/office/drawing/2014/main" id="{A99BFD94-E4E9-4463-9F03-3B2DF6DEED03}"/>
              </a:ext>
            </a:extLst>
          </p:cNvPr>
          <p:cNvSpPr>
            <a:spLocks noChangeArrowheads="1"/>
          </p:cNvSpPr>
          <p:nvPr/>
        </p:nvSpPr>
        <p:spPr bwMode="auto">
          <a:xfrm>
            <a:off x="5555040" y="4342743"/>
            <a:ext cx="776096" cy="290490"/>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Identity</a:t>
            </a:r>
          </a:p>
        </p:txBody>
      </p:sp>
      <p:sp>
        <p:nvSpPr>
          <p:cNvPr id="314" name="TextBox 313">
            <a:extLst>
              <a:ext uri="{FF2B5EF4-FFF2-40B4-BE49-F238E27FC236}">
                <a16:creationId xmlns:a16="http://schemas.microsoft.com/office/drawing/2014/main" id="{894FC6EC-DD68-4208-9D5E-C9459EF6D990}"/>
              </a:ext>
            </a:extLst>
          </p:cNvPr>
          <p:cNvSpPr txBox="1"/>
          <p:nvPr/>
        </p:nvSpPr>
        <p:spPr>
          <a:xfrm>
            <a:off x="6980983" y="5073512"/>
            <a:ext cx="618941"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315" name="Freeform 16">
            <a:extLst>
              <a:ext uri="{FF2B5EF4-FFF2-40B4-BE49-F238E27FC236}">
                <a16:creationId xmlns:a16="http://schemas.microsoft.com/office/drawing/2014/main" id="{290F6572-8E53-4630-A670-759D6B9E3016}"/>
              </a:ext>
            </a:extLst>
          </p:cNvPr>
          <p:cNvSpPr>
            <a:spLocks/>
          </p:cNvSpPr>
          <p:nvPr/>
        </p:nvSpPr>
        <p:spPr bwMode="auto">
          <a:xfrm>
            <a:off x="6335504" y="5079088"/>
            <a:ext cx="543991"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e2e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test</a:t>
            </a:r>
          </a:p>
        </p:txBody>
      </p:sp>
      <p:sp>
        <p:nvSpPr>
          <p:cNvPr id="316" name="TextBox 315">
            <a:extLst>
              <a:ext uri="{FF2B5EF4-FFF2-40B4-BE49-F238E27FC236}">
                <a16:creationId xmlns:a16="http://schemas.microsoft.com/office/drawing/2014/main" id="{8821C4A3-D89E-4A98-A39C-71AA6507CC51}"/>
              </a:ext>
            </a:extLst>
          </p:cNvPr>
          <p:cNvSpPr txBox="1"/>
          <p:nvPr/>
        </p:nvSpPr>
        <p:spPr>
          <a:xfrm>
            <a:off x="7695862" y="5073512"/>
            <a:ext cx="672949"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upport</a:t>
            </a:r>
          </a:p>
        </p:txBody>
      </p:sp>
      <p:sp>
        <p:nvSpPr>
          <p:cNvPr id="321" name="TextBox 320">
            <a:extLst>
              <a:ext uri="{FF2B5EF4-FFF2-40B4-BE49-F238E27FC236}">
                <a16:creationId xmlns:a16="http://schemas.microsoft.com/office/drawing/2014/main" id="{FBBF9499-5ED7-4027-A093-7CF1452430AF}"/>
              </a:ext>
            </a:extLst>
          </p:cNvPr>
          <p:cNvSpPr txBox="1"/>
          <p:nvPr/>
        </p:nvSpPr>
        <p:spPr>
          <a:xfrm>
            <a:off x="8136806" y="4416825"/>
            <a:ext cx="776096" cy="518159"/>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hared responsibility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odel understood</a:t>
            </a:r>
          </a:p>
        </p:txBody>
      </p:sp>
      <p:sp>
        <p:nvSpPr>
          <p:cNvPr id="322" name="TextBox 321">
            <a:extLst>
              <a:ext uri="{FF2B5EF4-FFF2-40B4-BE49-F238E27FC236}">
                <a16:creationId xmlns:a16="http://schemas.microsoft.com/office/drawing/2014/main" id="{A2977D9B-F1BE-43FA-A06D-76025860ECA3}"/>
              </a:ext>
            </a:extLst>
          </p:cNvPr>
          <p:cNvSpPr txBox="1"/>
          <p:nvPr/>
        </p:nvSpPr>
        <p:spPr>
          <a:xfrm>
            <a:off x="8138808" y="3967791"/>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Security RACI</a:t>
            </a:r>
          </a:p>
        </p:txBody>
      </p:sp>
      <p:sp>
        <p:nvSpPr>
          <p:cNvPr id="327" name="Freeform 16">
            <a:extLst>
              <a:ext uri="{FF2B5EF4-FFF2-40B4-BE49-F238E27FC236}">
                <a16:creationId xmlns:a16="http://schemas.microsoft.com/office/drawing/2014/main" id="{37749214-95FD-4CD4-A562-332D9BAF7A57}"/>
              </a:ext>
            </a:extLst>
          </p:cNvPr>
          <p:cNvSpPr>
            <a:spLocks/>
          </p:cNvSpPr>
          <p:nvPr/>
        </p:nvSpPr>
        <p:spPr bwMode="auto">
          <a:xfrm>
            <a:off x="8136806" y="3525051"/>
            <a:ext cx="776096" cy="369332"/>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solidFill>
            <a:srgbClr val="88CBFF"/>
          </a:solid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dentity and access </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management</a:t>
            </a:r>
          </a:p>
        </p:txBody>
      </p:sp>
      <p:sp>
        <p:nvSpPr>
          <p:cNvPr id="329" name="Rectangle 18">
            <a:extLst>
              <a:ext uri="{FF2B5EF4-FFF2-40B4-BE49-F238E27FC236}">
                <a16:creationId xmlns:a16="http://schemas.microsoft.com/office/drawing/2014/main" id="{B1AF7B99-E958-4741-BD1B-DE998CB98BD0}"/>
              </a:ext>
            </a:extLst>
          </p:cNvPr>
          <p:cNvSpPr>
            <a:spLocks noChangeArrowheads="1"/>
          </p:cNvSpPr>
          <p:nvPr/>
        </p:nvSpPr>
        <p:spPr bwMode="auto">
          <a:xfrm>
            <a:off x="8148101" y="3079117"/>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Logging and monitoring</a:t>
            </a:r>
          </a:p>
        </p:txBody>
      </p:sp>
      <p:sp>
        <p:nvSpPr>
          <p:cNvPr id="367" name="Rectangle 366">
            <a:extLst>
              <a:ext uri="{FF2B5EF4-FFF2-40B4-BE49-F238E27FC236}">
                <a16:creationId xmlns:a16="http://schemas.microsoft.com/office/drawing/2014/main" id="{8B501E7F-5C53-471A-AE50-D923CDC8B9BC}"/>
              </a:ext>
            </a:extLst>
          </p:cNvPr>
          <p:cNvSpPr/>
          <p:nvPr/>
        </p:nvSpPr>
        <p:spPr>
          <a:xfrm>
            <a:off x="89158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Data protection</a:t>
            </a:r>
          </a:p>
        </p:txBody>
      </p:sp>
      <p:sp>
        <p:nvSpPr>
          <p:cNvPr id="369" name="Rectangle 368">
            <a:extLst>
              <a:ext uri="{FF2B5EF4-FFF2-40B4-BE49-F238E27FC236}">
                <a16:creationId xmlns:a16="http://schemas.microsoft.com/office/drawing/2014/main" id="{6AFD71C3-ABBD-4B77-9370-960925BEFE6F}"/>
              </a:ext>
            </a:extLst>
          </p:cNvPr>
          <p:cNvSpPr/>
          <p:nvPr/>
        </p:nvSpPr>
        <p:spPr>
          <a:xfrm>
            <a:off x="9603992"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cident response</a:t>
            </a:r>
          </a:p>
        </p:txBody>
      </p:sp>
      <p:sp>
        <p:nvSpPr>
          <p:cNvPr id="374" name="Rectangle 373">
            <a:extLst>
              <a:ext uri="{FF2B5EF4-FFF2-40B4-BE49-F238E27FC236}">
                <a16:creationId xmlns:a16="http://schemas.microsoft.com/office/drawing/2014/main" id="{D6A8D428-7104-4314-B87E-E2FCD8BEB5AC}"/>
              </a:ext>
            </a:extLst>
          </p:cNvPr>
          <p:cNvSpPr/>
          <p:nvPr/>
        </p:nvSpPr>
        <p:spPr>
          <a:xfrm>
            <a:off x="10317893" y="3110743"/>
            <a:ext cx="776096" cy="212579"/>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S patching</a:t>
            </a:r>
          </a:p>
        </p:txBody>
      </p:sp>
      <p:sp>
        <p:nvSpPr>
          <p:cNvPr id="375" name="Rectangle 374">
            <a:extLst>
              <a:ext uri="{FF2B5EF4-FFF2-40B4-BE49-F238E27FC236}">
                <a16:creationId xmlns:a16="http://schemas.microsoft.com/office/drawing/2014/main" id="{1DFBF6A3-2DF2-4F27-B983-5F119306E561}"/>
              </a:ext>
            </a:extLst>
          </p:cNvPr>
          <p:cNvSpPr/>
          <p:nvPr/>
        </p:nvSpPr>
        <p:spPr>
          <a:xfrm>
            <a:off x="10317893" y="3371361"/>
            <a:ext cx="776096" cy="240030"/>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Monitoring</a:t>
            </a:r>
          </a:p>
        </p:txBody>
      </p:sp>
      <p:sp>
        <p:nvSpPr>
          <p:cNvPr id="376" name="Rectangle 17">
            <a:extLst>
              <a:ext uri="{FF2B5EF4-FFF2-40B4-BE49-F238E27FC236}">
                <a16:creationId xmlns:a16="http://schemas.microsoft.com/office/drawing/2014/main" id="{A5DA51A3-2CC7-4554-867C-F4AC90DD33CE}"/>
              </a:ext>
            </a:extLst>
          </p:cNvPr>
          <p:cNvSpPr>
            <a:spLocks noChangeArrowheads="1"/>
          </p:cNvSpPr>
          <p:nvPr/>
        </p:nvSpPr>
        <p:spPr bwMode="auto">
          <a:xfrm>
            <a:off x="10317893" y="3651611"/>
            <a:ext cx="776096" cy="302675"/>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Backup</a:t>
            </a:r>
          </a:p>
        </p:txBody>
      </p:sp>
      <p:sp>
        <p:nvSpPr>
          <p:cNvPr id="380" name="Freeform 16">
            <a:extLst>
              <a:ext uri="{FF2B5EF4-FFF2-40B4-BE49-F238E27FC236}">
                <a16:creationId xmlns:a16="http://schemas.microsoft.com/office/drawing/2014/main" id="{D1ADF4B1-7FA9-4312-9703-3267FCF0A695}"/>
              </a:ext>
            </a:extLst>
          </p:cNvPr>
          <p:cNvSpPr>
            <a:spLocks/>
          </p:cNvSpPr>
          <p:nvPr/>
        </p:nvSpPr>
        <p:spPr bwMode="auto">
          <a:xfrm>
            <a:off x="10317893" y="4391778"/>
            <a:ext cx="776096" cy="417720"/>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nfiguration and change management</a:t>
            </a:r>
          </a:p>
        </p:txBody>
      </p:sp>
      <p:sp>
        <p:nvSpPr>
          <p:cNvPr id="381" name="Rectangle 18">
            <a:extLst>
              <a:ext uri="{FF2B5EF4-FFF2-40B4-BE49-F238E27FC236}">
                <a16:creationId xmlns:a16="http://schemas.microsoft.com/office/drawing/2014/main" id="{C6FD9A1A-5925-421D-B5C5-7F4698B235BE}"/>
              </a:ext>
            </a:extLst>
          </p:cNvPr>
          <p:cNvSpPr>
            <a:spLocks noChangeArrowheads="1"/>
          </p:cNvSpPr>
          <p:nvPr/>
        </p:nvSpPr>
        <p:spPr bwMode="auto">
          <a:xfrm>
            <a:off x="10317893" y="3964156"/>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isaster recovery</a:t>
            </a:r>
          </a:p>
        </p:txBody>
      </p:sp>
      <p:sp>
        <p:nvSpPr>
          <p:cNvPr id="383" name="TextBox 382">
            <a:extLst>
              <a:ext uri="{FF2B5EF4-FFF2-40B4-BE49-F238E27FC236}">
                <a16:creationId xmlns:a16="http://schemas.microsoft.com/office/drawing/2014/main" id="{3799B0A2-40CF-4355-8174-D36385EAECBB}"/>
              </a:ext>
            </a:extLst>
          </p:cNvPr>
          <p:cNvSpPr txBox="1"/>
          <p:nvPr/>
        </p:nvSpPr>
        <p:spPr>
          <a:xfrm>
            <a:off x="10318160" y="5078299"/>
            <a:ext cx="776096" cy="369332"/>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DevOps and automation</a:t>
            </a:r>
          </a:p>
        </p:txBody>
      </p:sp>
      <p:sp>
        <p:nvSpPr>
          <p:cNvPr id="387" name="TextBox 386">
            <a:extLst>
              <a:ext uri="{FF2B5EF4-FFF2-40B4-BE49-F238E27FC236}">
                <a16:creationId xmlns:a16="http://schemas.microsoft.com/office/drawing/2014/main" id="{080519B9-9C87-4D92-A7DE-CDD300A9BA5C}"/>
              </a:ext>
            </a:extLst>
          </p:cNvPr>
          <p:cNvSpPr txBox="1"/>
          <p:nvPr/>
        </p:nvSpPr>
        <p:spPr>
          <a:xfrm>
            <a:off x="11188090" y="4934985"/>
            <a:ext cx="962127" cy="628130"/>
          </a:xfrm>
          <a:prstGeom prst="rect">
            <a:avLst/>
          </a:prstGeom>
          <a:noFill/>
        </p:spPr>
        <p:txBody>
          <a:bodyPr wrap="square" lIns="0" tIns="0" rIns="0" b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loud operational processes and run books</a:t>
            </a:r>
          </a:p>
        </p:txBody>
      </p:sp>
      <p:sp>
        <p:nvSpPr>
          <p:cNvPr id="684" name="Rectangle 683">
            <a:extLst>
              <a:ext uri="{FF2B5EF4-FFF2-40B4-BE49-F238E27FC236}">
                <a16:creationId xmlns:a16="http://schemas.microsoft.com/office/drawing/2014/main" id="{824393BB-CCE2-41C3-9372-E1EF464F8963}"/>
              </a:ext>
            </a:extLst>
          </p:cNvPr>
          <p:cNvSpPr/>
          <p:nvPr/>
        </p:nvSpPr>
        <p:spPr>
          <a:xfrm>
            <a:off x="419886" y="2480501"/>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 uri="{C183D7F6-B498-43B3-948B-1728B52AA6E4}">
                <adec:decorative xmlns:adec="http://schemas.microsoft.com/office/drawing/2017/decorative" xmlns="" val="1"/>
              </a:ext>
            </a:extLst>
          </p:cNvPr>
          <p:cNvGrpSpPr/>
          <p:nvPr/>
        </p:nvGrpSpPr>
        <p:grpSpPr>
          <a:xfrm>
            <a:off x="559625" y="2830073"/>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 uri="{C183D7F6-B498-43B3-948B-1728B52AA6E4}">
                <adec:decorative xmlns:adec="http://schemas.microsoft.com/office/drawing/2017/decorative" xmlns="" val="1"/>
              </a:ext>
            </a:extLst>
          </p:cNvPr>
          <p:cNvGrpSpPr/>
          <p:nvPr/>
        </p:nvGrpSpPr>
        <p:grpSpPr>
          <a:xfrm rot="16200000">
            <a:off x="1153985" y="48417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19356" y="4800111"/>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4601096" y="5961125"/>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grpSp>
        <p:nvGrpSpPr>
          <p:cNvPr id="692" name="Group 691">
            <a:extLst>
              <a:ext uri="{FF2B5EF4-FFF2-40B4-BE49-F238E27FC236}">
                <a16:creationId xmlns:a16="http://schemas.microsoft.com/office/drawing/2014/main" id="{C2F0D470-7D8F-4603-A724-82B462F3FC67}"/>
              </a:ext>
              <a:ext uri="{C183D7F6-B498-43B3-948B-1728B52AA6E4}">
                <adec:decorative xmlns:adec="http://schemas.microsoft.com/office/drawing/2017/decorative" xmlns="" val="1"/>
              </a:ext>
            </a:extLst>
          </p:cNvPr>
          <p:cNvGrpSpPr/>
          <p:nvPr/>
        </p:nvGrpSpPr>
        <p:grpSpPr>
          <a:xfrm rot="16200000" flipV="1">
            <a:off x="4342296" y="5920882"/>
            <a:ext cx="197618" cy="364288"/>
            <a:chOff x="559625" y="2541842"/>
            <a:chExt cx="197618" cy="364288"/>
          </a:xfrm>
        </p:grpSpPr>
        <p:sp>
          <p:nvSpPr>
            <p:cNvPr id="693" name="Diamond 692">
              <a:extLst>
                <a:ext uri="{FF2B5EF4-FFF2-40B4-BE49-F238E27FC236}">
                  <a16:creationId xmlns:a16="http://schemas.microsoft.com/office/drawing/2014/main" id="{459B27F9-C80E-45F0-AE6E-B9F5A45979F9}"/>
                </a:ext>
              </a:extLst>
            </p:cNvPr>
            <p:cNvSpPr/>
            <p:nvPr/>
          </p:nvSpPr>
          <p:spPr>
            <a:xfrm>
              <a:off x="559625" y="2541842"/>
              <a:ext cx="197618" cy="183974"/>
            </a:xfrm>
            <a:prstGeom prst="diamond">
              <a:avLst/>
            </a:prstGeom>
            <a:solidFill>
              <a:schemeClr val="accent3">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4" name="Straight Connector 693">
              <a:extLst>
                <a:ext uri="{FF2B5EF4-FFF2-40B4-BE49-F238E27FC236}">
                  <a16:creationId xmlns:a16="http://schemas.microsoft.com/office/drawing/2014/main" id="{B9C7C96F-51D5-45B8-93B1-64488BA65816}"/>
                </a:ext>
              </a:extLst>
            </p:cNvPr>
            <p:cNvCxnSpPr>
              <a:cxnSpLocks/>
            </p:cNvCxnSpPr>
            <p:nvPr/>
          </p:nvCxnSpPr>
          <p:spPr>
            <a:xfrm flipH="1" flipV="1">
              <a:off x="658434" y="2694682"/>
              <a:ext cx="0" cy="211448"/>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5" name="Rectangle 694">
            <a:extLst>
              <a:ext uri="{FF2B5EF4-FFF2-40B4-BE49-F238E27FC236}">
                <a16:creationId xmlns:a16="http://schemas.microsoft.com/office/drawing/2014/main" id="{187A1756-A6CE-4D55-B8D9-ED299D986FBD}"/>
              </a:ext>
            </a:extLst>
          </p:cNvPr>
          <p:cNvSpPr/>
          <p:nvPr/>
        </p:nvSpPr>
        <p:spPr>
          <a:xfrm>
            <a:off x="2262906" y="4004011"/>
            <a:ext cx="1768705"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a:t>
            </a:r>
            <a:br>
              <a:rPr kumimoji="0" lang="en-US" sz="1400" b="0" i="0" u="none" strike="noStrike" kern="1200" cap="none" spc="0" normalizeH="0" baseline="0" noProof="0">
                <a:ln>
                  <a:noFill/>
                </a:ln>
                <a:solidFill>
                  <a:prstClr val="white"/>
                </a:solidFill>
                <a:effectLst/>
                <a:uLnTx/>
                <a:uFillTx/>
                <a:latin typeface="Segoe UI Semibold"/>
                <a:ea typeface="+mn-ea"/>
                <a:cs typeface="+mn-cs"/>
              </a:rPr>
            </a:b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case</a:t>
            </a:r>
          </a:p>
        </p:txBody>
      </p:sp>
      <p:grpSp>
        <p:nvGrpSpPr>
          <p:cNvPr id="696" name="Group 695">
            <a:extLst>
              <a:ext uri="{FF2B5EF4-FFF2-40B4-BE49-F238E27FC236}">
                <a16:creationId xmlns:a16="http://schemas.microsoft.com/office/drawing/2014/main" id="{C3DD1236-46E0-4116-9EFC-E6A81D8702C5}"/>
              </a:ext>
              <a:ext uri="{C183D7F6-B498-43B3-948B-1728B52AA6E4}">
                <adec:decorative xmlns:adec="http://schemas.microsoft.com/office/drawing/2017/decorative" xmlns="" val="1"/>
              </a:ext>
            </a:extLst>
          </p:cNvPr>
          <p:cNvGrpSpPr/>
          <p:nvPr/>
        </p:nvGrpSpPr>
        <p:grpSpPr>
          <a:xfrm rot="16200000">
            <a:off x="3140531" y="1856254"/>
            <a:ext cx="197618" cy="453304"/>
            <a:chOff x="559625" y="2541842"/>
            <a:chExt cx="197618" cy="453304"/>
          </a:xfrm>
          <a:solidFill>
            <a:schemeClr val="accent3"/>
          </a:solidFill>
        </p:grpSpPr>
        <p:sp>
          <p:nvSpPr>
            <p:cNvPr id="697" name="Diamond 696">
              <a:extLst>
                <a:ext uri="{FF2B5EF4-FFF2-40B4-BE49-F238E27FC236}">
                  <a16:creationId xmlns:a16="http://schemas.microsoft.com/office/drawing/2014/main" id="{7CF4E6B3-0CF7-40D9-A020-C9B6933C4D1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98" name="Straight Connector 697">
              <a:extLst>
                <a:ext uri="{FF2B5EF4-FFF2-40B4-BE49-F238E27FC236}">
                  <a16:creationId xmlns:a16="http://schemas.microsoft.com/office/drawing/2014/main" id="{01DA950E-9E3E-4B97-9C22-ED60DDCC8FF4}"/>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9" name="Rectangle 698">
            <a:extLst>
              <a:ext uri="{FF2B5EF4-FFF2-40B4-BE49-F238E27FC236}">
                <a16:creationId xmlns:a16="http://schemas.microsoft.com/office/drawing/2014/main" id="{9E4D39A3-1BFB-422C-A5FA-DEEFBD1FD530}"/>
              </a:ext>
            </a:extLst>
          </p:cNvPr>
          <p:cNvSpPr/>
          <p:nvPr/>
        </p:nvSpPr>
        <p:spPr>
          <a:xfrm>
            <a:off x="1870762" y="1821295"/>
            <a:ext cx="113608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plan</a:t>
            </a:r>
          </a:p>
        </p:txBody>
      </p:sp>
      <p:grpSp>
        <p:nvGrpSpPr>
          <p:cNvPr id="700" name="Group 699">
            <a:extLst>
              <a:ext uri="{FF2B5EF4-FFF2-40B4-BE49-F238E27FC236}">
                <a16:creationId xmlns:a16="http://schemas.microsoft.com/office/drawing/2014/main" id="{93D44443-FCE6-4610-92E9-52F83E61ACCA}"/>
              </a:ext>
              <a:ext uri="{C183D7F6-B498-43B3-948B-1728B52AA6E4}">
                <adec:decorative xmlns:adec="http://schemas.microsoft.com/office/drawing/2017/decorative" xmlns="" val="1"/>
              </a:ext>
            </a:extLst>
          </p:cNvPr>
          <p:cNvGrpSpPr/>
          <p:nvPr/>
        </p:nvGrpSpPr>
        <p:grpSpPr>
          <a:xfrm rot="5400000" flipH="1">
            <a:off x="6462851" y="1856254"/>
            <a:ext cx="197618" cy="453304"/>
            <a:chOff x="559625" y="2541842"/>
            <a:chExt cx="197618" cy="453304"/>
          </a:xfrm>
          <a:solidFill>
            <a:srgbClr val="00BEDE"/>
          </a:solidFill>
        </p:grpSpPr>
        <p:sp>
          <p:nvSpPr>
            <p:cNvPr id="701" name="Diamond 700">
              <a:extLst>
                <a:ext uri="{FF2B5EF4-FFF2-40B4-BE49-F238E27FC236}">
                  <a16:creationId xmlns:a16="http://schemas.microsoft.com/office/drawing/2014/main" id="{8F8917B3-A3E3-4980-95E3-FD46027BF199}"/>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02" name="Straight Connector 701">
              <a:extLst>
                <a:ext uri="{FF2B5EF4-FFF2-40B4-BE49-F238E27FC236}">
                  <a16:creationId xmlns:a16="http://schemas.microsoft.com/office/drawing/2014/main" id="{936CBD5B-6A9A-4D64-B667-B247C5E1D8A6}"/>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04" name="Rectangle 703">
            <a:extLst>
              <a:ext uri="{FF2B5EF4-FFF2-40B4-BE49-F238E27FC236}">
                <a16:creationId xmlns:a16="http://schemas.microsoft.com/office/drawing/2014/main" id="{AFD143F8-8A0E-475E-ABC7-D19C1B4D724E}"/>
              </a:ext>
            </a:extLst>
          </p:cNvPr>
          <p:cNvSpPr/>
          <p:nvPr/>
        </p:nvSpPr>
        <p:spPr>
          <a:xfrm>
            <a:off x="6828842" y="1821295"/>
            <a:ext cx="113608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6563885" y="3830866"/>
            <a:ext cx="136408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execution</a:t>
            </a:r>
          </a:p>
        </p:txBody>
      </p:sp>
      <p:grpSp>
        <p:nvGrpSpPr>
          <p:cNvPr id="717" name="Group 716">
            <a:extLst>
              <a:ext uri="{FF2B5EF4-FFF2-40B4-BE49-F238E27FC236}">
                <a16:creationId xmlns:a16="http://schemas.microsoft.com/office/drawing/2014/main" id="{15F747A0-7C55-4C80-B8D9-2B5A1F7BFA95}"/>
              </a:ext>
              <a:ext uri="{C183D7F6-B498-43B3-948B-1728B52AA6E4}">
                <adec:decorative xmlns:adec="http://schemas.microsoft.com/office/drawing/2017/decorative" xmlns="" val="1"/>
              </a:ext>
            </a:extLst>
          </p:cNvPr>
          <p:cNvGrpSpPr/>
          <p:nvPr/>
        </p:nvGrpSpPr>
        <p:grpSpPr>
          <a:xfrm>
            <a:off x="7145915" y="4414341"/>
            <a:ext cx="197618" cy="453304"/>
            <a:chOff x="559625" y="2541842"/>
            <a:chExt cx="197618" cy="453304"/>
          </a:xfrm>
          <a:solidFill>
            <a:schemeClr val="accent1">
              <a:lumMod val="20000"/>
              <a:lumOff val="80000"/>
            </a:schemeClr>
          </a:solidFill>
        </p:grpSpPr>
        <p:sp>
          <p:nvSpPr>
            <p:cNvPr id="718" name="Diamond 717">
              <a:extLst>
                <a:ext uri="{FF2B5EF4-FFF2-40B4-BE49-F238E27FC236}">
                  <a16:creationId xmlns:a16="http://schemas.microsoft.com/office/drawing/2014/main" id="{18406F18-9EB6-4FFC-A896-4C307200A5A6}"/>
                </a:ext>
              </a:extLst>
            </p:cNvPr>
            <p:cNvSpPr/>
            <p:nvPr/>
          </p:nvSpPr>
          <p:spPr>
            <a:xfrm>
              <a:off x="559625" y="2541842"/>
              <a:ext cx="197618" cy="183974"/>
            </a:xfrm>
            <a:prstGeom prst="diamond">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19" name="Straight Connector 718">
              <a:extLst>
                <a:ext uri="{FF2B5EF4-FFF2-40B4-BE49-F238E27FC236}">
                  <a16:creationId xmlns:a16="http://schemas.microsoft.com/office/drawing/2014/main" id="{EDCF10A8-9CD3-4300-8862-32BE991774AF}"/>
                </a:ext>
              </a:extLst>
            </p:cNvPr>
            <p:cNvCxnSpPr>
              <a:cxnSpLocks/>
            </p:cNvCxnSpPr>
            <p:nvPr/>
          </p:nvCxnSpPr>
          <p:spPr>
            <a:xfrm flipH="1" flipV="1">
              <a:off x="668825" y="2694682"/>
              <a:ext cx="3076" cy="300464"/>
            </a:xfrm>
            <a:prstGeom prst="line">
              <a:avLst/>
            </a:prstGeom>
            <a:grpFill/>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722" name="Rectangle 721">
            <a:extLst>
              <a:ext uri="{FF2B5EF4-FFF2-40B4-BE49-F238E27FC236}">
                <a16:creationId xmlns:a16="http://schemas.microsoft.com/office/drawing/2014/main" id="{EB4C245D-82D9-4CC0-B1EE-57BA543B870B}"/>
              </a:ext>
            </a:extLst>
          </p:cNvPr>
          <p:cNvSpPr/>
          <p:nvPr/>
        </p:nvSpPr>
        <p:spPr>
          <a:xfrm>
            <a:off x="8096741" y="1473736"/>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grpSp>
        <p:nvGrpSpPr>
          <p:cNvPr id="723" name="Group 722">
            <a:extLst>
              <a:ext uri="{FF2B5EF4-FFF2-40B4-BE49-F238E27FC236}">
                <a16:creationId xmlns:a16="http://schemas.microsoft.com/office/drawing/2014/main" id="{CF3F6B04-A377-4765-9EE3-A702B4550389}"/>
              </a:ext>
              <a:ext uri="{C183D7F6-B498-43B3-948B-1728B52AA6E4}">
                <adec:decorative xmlns:adec="http://schemas.microsoft.com/office/drawing/2017/decorative" xmlns="" val="1"/>
              </a:ext>
            </a:extLst>
          </p:cNvPr>
          <p:cNvGrpSpPr/>
          <p:nvPr/>
        </p:nvGrpSpPr>
        <p:grpSpPr>
          <a:xfrm>
            <a:off x="9046081" y="1823308"/>
            <a:ext cx="197618" cy="453304"/>
            <a:chOff x="559625" y="2541842"/>
            <a:chExt cx="197618" cy="453304"/>
          </a:xfrm>
        </p:grpSpPr>
        <p:sp>
          <p:nvSpPr>
            <p:cNvPr id="724" name="Diamond 723">
              <a:extLst>
                <a:ext uri="{FF2B5EF4-FFF2-40B4-BE49-F238E27FC236}">
                  <a16:creationId xmlns:a16="http://schemas.microsoft.com/office/drawing/2014/main" id="{CDABE6F7-2C88-452E-B783-FBEE1672E7A4}"/>
                </a:ext>
              </a:extLst>
            </p:cNvPr>
            <p:cNvSpPr/>
            <p:nvPr/>
          </p:nvSpPr>
          <p:spPr>
            <a:xfrm>
              <a:off x="559625" y="2541842"/>
              <a:ext cx="197618" cy="183974"/>
            </a:xfrm>
            <a:prstGeom prst="diamond">
              <a:avLst/>
            </a:prstGeom>
            <a:solidFill>
              <a:schemeClr val="accent1">
                <a:lumMod val="40000"/>
                <a:lumOff val="6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5" name="Straight Connector 724">
              <a:extLst>
                <a:ext uri="{FF2B5EF4-FFF2-40B4-BE49-F238E27FC236}">
                  <a16:creationId xmlns:a16="http://schemas.microsoft.com/office/drawing/2014/main" id="{1ABF3A2F-A8A9-4A41-B007-E6A7BA6F6801}"/>
                </a:ext>
              </a:extLst>
            </p:cNvPr>
            <p:cNvCxnSpPr>
              <a:cxnSpLocks/>
            </p:cNvCxnSpPr>
            <p:nvPr/>
          </p:nvCxnSpPr>
          <p:spPr>
            <a:xfrm flipH="1" flipV="1">
              <a:off x="668825"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E4660DB1-B0F7-42B3-B1D1-978D14D851A5}"/>
              </a:ext>
              <a:ext uri="{C183D7F6-B498-43B3-948B-1728B52AA6E4}">
                <adec:decorative xmlns:adec="http://schemas.microsoft.com/office/drawing/2017/decorative" xmlns="" val="1"/>
              </a:ext>
            </a:extLst>
          </p:cNvPr>
          <p:cNvGrpSpPr/>
          <p:nvPr/>
        </p:nvGrpSpPr>
        <p:grpSpPr>
          <a:xfrm rot="16200000">
            <a:off x="9986258" y="3947243"/>
            <a:ext cx="197618" cy="453304"/>
            <a:chOff x="559625" y="2541842"/>
            <a:chExt cx="197618" cy="453304"/>
          </a:xfrm>
        </p:grpSpPr>
        <p:sp>
          <p:nvSpPr>
            <p:cNvPr id="727" name="Diamond 726">
              <a:extLst>
                <a:ext uri="{FF2B5EF4-FFF2-40B4-BE49-F238E27FC236}">
                  <a16:creationId xmlns:a16="http://schemas.microsoft.com/office/drawing/2014/main" id="{4A670FFC-E354-41AA-95E9-67316F567253}"/>
                </a:ext>
              </a:extLst>
            </p:cNvPr>
            <p:cNvSpPr/>
            <p:nvPr/>
          </p:nvSpPr>
          <p:spPr>
            <a:xfrm>
              <a:off x="559625" y="2541842"/>
              <a:ext cx="197618" cy="183974"/>
            </a:xfrm>
            <a:prstGeom prst="diamond">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28" name="Straight Connector 727">
              <a:extLst>
                <a:ext uri="{FF2B5EF4-FFF2-40B4-BE49-F238E27FC236}">
                  <a16:creationId xmlns:a16="http://schemas.microsoft.com/office/drawing/2014/main" id="{35A83658-0737-4160-83F0-9F7B86DAF4C5}"/>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29" name="Rectangle 728">
            <a:extLst>
              <a:ext uri="{FF2B5EF4-FFF2-40B4-BE49-F238E27FC236}">
                <a16:creationId xmlns:a16="http://schemas.microsoft.com/office/drawing/2014/main" id="{1929A828-F719-4A30-89D9-5C4D0D6DDD70}"/>
              </a:ext>
            </a:extLst>
          </p:cNvPr>
          <p:cNvSpPr/>
          <p:nvPr/>
        </p:nvSpPr>
        <p:spPr>
          <a:xfrm>
            <a:off x="9096833" y="4343802"/>
            <a:ext cx="10646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 uri="{C183D7F6-B498-43B3-948B-1728B52AA6E4}">
                <adec:decorative xmlns:adec="http://schemas.microsoft.com/office/drawing/2017/decorative" xmlns="" val="1"/>
              </a:ext>
            </a:extLst>
          </p:cNvPr>
          <p:cNvGrpSpPr/>
          <p:nvPr/>
        </p:nvGrpSpPr>
        <p:grpSpPr>
          <a:xfrm rot="16200000">
            <a:off x="5213631" y="3942889"/>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4242452" y="3894457"/>
            <a:ext cx="849908"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Landing zone</a:t>
            </a:r>
          </a:p>
        </p:txBody>
      </p:sp>
      <p:sp>
        <p:nvSpPr>
          <p:cNvPr id="254" name="Freeform: Shape 253">
            <a:extLst>
              <a:ext uri="{FF2B5EF4-FFF2-40B4-BE49-F238E27FC236}">
                <a16:creationId xmlns:a16="http://schemas.microsoft.com/office/drawing/2014/main" id="{DA737712-9C16-4956-AC47-9A2A2D0FAD31}"/>
              </a:ext>
              <a:ext uri="{C183D7F6-B498-43B3-948B-1728B52AA6E4}">
                <adec:decorative xmlns:adec="http://schemas.microsoft.com/office/drawing/2017/decorative" xmlns="" val="1"/>
              </a:ext>
            </a:extLst>
          </p:cNvPr>
          <p:cNvSpPr/>
          <p:nvPr/>
        </p:nvSpPr>
        <p:spPr>
          <a:xfrm rot="10800000" flipV="1">
            <a:off x="3463604" y="5766865"/>
            <a:ext cx="790344" cy="772722"/>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16">
            <a:extLst>
              <a:ext uri="{FF2B5EF4-FFF2-40B4-BE49-F238E27FC236}">
                <a16:creationId xmlns:a16="http://schemas.microsoft.com/office/drawing/2014/main" id="{27BAFC92-3540-4344-ADB9-166CAFB09531}"/>
              </a:ext>
            </a:extLst>
          </p:cNvPr>
          <p:cNvSpPr>
            <a:spLocks/>
          </p:cNvSpPr>
          <p:nvPr/>
        </p:nvSpPr>
        <p:spPr bwMode="auto">
          <a:xfrm>
            <a:off x="3477766" y="5784791"/>
            <a:ext cx="769114" cy="641234"/>
          </a:xfrm>
          <a:custGeom>
            <a:avLst/>
            <a:gdLst>
              <a:gd name="T0" fmla="*/ 64 w 64"/>
              <a:gd name="T1" fmla="*/ 62 h 62"/>
              <a:gd name="T2" fmla="*/ 64 w 64"/>
              <a:gd name="T3" fmla="*/ 0 h 62"/>
              <a:gd name="T4" fmla="*/ 0 w 64"/>
              <a:gd name="T5" fmla="*/ 0 h 62"/>
              <a:gd name="T6" fmla="*/ 0 w 64"/>
              <a:gd name="T7" fmla="*/ 60 h 62"/>
              <a:gd name="T8" fmla="*/ 0 w 64"/>
              <a:gd name="T9" fmla="*/ 62 h 62"/>
              <a:gd name="T10" fmla="*/ 64 w 64"/>
              <a:gd name="T11" fmla="*/ 62 h 62"/>
            </a:gdLst>
            <a:ahLst/>
            <a:cxnLst>
              <a:cxn ang="0">
                <a:pos x="T0" y="T1"/>
              </a:cxn>
              <a:cxn ang="0">
                <a:pos x="T2" y="T3"/>
              </a:cxn>
              <a:cxn ang="0">
                <a:pos x="T4" y="T5"/>
              </a:cxn>
              <a:cxn ang="0">
                <a:pos x="T6" y="T7"/>
              </a:cxn>
              <a:cxn ang="0">
                <a:pos x="T8" y="T9"/>
              </a:cxn>
              <a:cxn ang="0">
                <a:pos x="T10" y="T11"/>
              </a:cxn>
            </a:cxnLst>
            <a:rect l="0" t="0" r="r" b="b"/>
            <a:pathLst>
              <a:path w="64" h="62">
                <a:moveTo>
                  <a:pt x="64" y="62"/>
                </a:moveTo>
                <a:cubicBezTo>
                  <a:pt x="64" y="0"/>
                  <a:pt x="64" y="0"/>
                  <a:pt x="64" y="0"/>
                </a:cubicBezTo>
                <a:cubicBezTo>
                  <a:pt x="0" y="0"/>
                  <a:pt x="0" y="0"/>
                  <a:pt x="0" y="0"/>
                </a:cubicBezTo>
                <a:cubicBezTo>
                  <a:pt x="0" y="60"/>
                  <a:pt x="0" y="60"/>
                  <a:pt x="0" y="60"/>
                </a:cubicBezTo>
                <a:cubicBezTo>
                  <a:pt x="0" y="60"/>
                  <a:pt x="0" y="61"/>
                  <a:pt x="0" y="62"/>
                </a:cubicBezTo>
                <a:lnTo>
                  <a:pt x="64" y="62"/>
                </a:lnTo>
                <a:close/>
              </a:path>
            </a:pathLst>
          </a:cu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Workload owner</a:t>
            </a:r>
            <a:br>
              <a:rPr kumimoji="0" lang="en-US" sz="950" b="0" i="0" u="none" strike="noStrike" kern="1200" cap="none" spc="0" normalizeH="0" baseline="0" noProof="0">
                <a:ln>
                  <a:noFill/>
                </a:ln>
                <a:solidFill>
                  <a:prstClr val="black"/>
                </a:solidFill>
                <a:effectLst/>
                <a:uLnTx/>
                <a:uFillTx/>
                <a:latin typeface="Segoe UI"/>
                <a:ea typeface="+mn-ea"/>
                <a:cs typeface="+mn-cs"/>
              </a:rPr>
            </a:br>
            <a:r>
              <a:rPr kumimoji="0" lang="en-US" sz="950" b="0" i="0" u="none" strike="noStrike" kern="1200" cap="none" spc="0" normalizeH="0" baseline="0" noProof="0">
                <a:ln>
                  <a:noFill/>
                </a:ln>
                <a:solidFill>
                  <a:prstClr val="black"/>
                </a:solidFill>
                <a:effectLst/>
                <a:uLnTx/>
                <a:uFillTx/>
                <a:latin typeface="Segoe UI"/>
                <a:ea typeface="+mn-ea"/>
                <a:cs typeface="+mn-cs"/>
              </a:rPr>
              <a:t>buy-in or alignment</a:t>
            </a:r>
          </a:p>
        </p:txBody>
      </p:sp>
      <p:sp>
        <p:nvSpPr>
          <p:cNvPr id="255" name="Freeform: Shape 254" descr="Cost management">
            <a:extLst>
              <a:ext uri="{FF2B5EF4-FFF2-40B4-BE49-F238E27FC236}">
                <a16:creationId xmlns:a16="http://schemas.microsoft.com/office/drawing/2014/main" id="{D9E11929-F9F4-43FD-A38D-883013AB6343}"/>
              </a:ext>
            </a:extLst>
          </p:cNvPr>
          <p:cNvSpPr/>
          <p:nvPr/>
        </p:nvSpPr>
        <p:spPr>
          <a:xfrm rot="10800000" flipH="1" flipV="1">
            <a:off x="5554698" y="4690214"/>
            <a:ext cx="783276" cy="952893"/>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18">
            <a:extLst>
              <a:ext uri="{FF2B5EF4-FFF2-40B4-BE49-F238E27FC236}">
                <a16:creationId xmlns:a16="http://schemas.microsoft.com/office/drawing/2014/main" id="{6C795D14-AF47-4C90-B59D-22325C22432A}"/>
              </a:ext>
            </a:extLst>
          </p:cNvPr>
          <p:cNvSpPr>
            <a:spLocks noChangeArrowheads="1"/>
          </p:cNvSpPr>
          <p:nvPr/>
        </p:nvSpPr>
        <p:spPr bwMode="auto">
          <a:xfrm>
            <a:off x="5573020" y="4862773"/>
            <a:ext cx="776096"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Cost management</a:t>
            </a:r>
          </a:p>
        </p:txBody>
      </p:sp>
      <p:sp>
        <p:nvSpPr>
          <p:cNvPr id="259" name="Freeform: Shape 258" descr="Infrastructure security">
            <a:extLst>
              <a:ext uri="{FF2B5EF4-FFF2-40B4-BE49-F238E27FC236}">
                <a16:creationId xmlns:a16="http://schemas.microsoft.com/office/drawing/2014/main" id="{FAB4AE8E-60C0-4969-8093-BAC95953EFE2}"/>
              </a:ext>
            </a:extLst>
          </p:cNvPr>
          <p:cNvSpPr/>
          <p:nvPr/>
        </p:nvSpPr>
        <p:spPr>
          <a:xfrm rot="10800000" flipH="1">
            <a:off x="8133137" y="2263691"/>
            <a:ext cx="783276" cy="770768"/>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rgbClr val="88C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28" name="Rectangle 17">
            <a:extLst>
              <a:ext uri="{FF2B5EF4-FFF2-40B4-BE49-F238E27FC236}">
                <a16:creationId xmlns:a16="http://schemas.microsoft.com/office/drawing/2014/main" id="{1F057244-6745-47FB-8AD4-D0A8B31C2E43}"/>
              </a:ext>
            </a:extLst>
          </p:cNvPr>
          <p:cNvSpPr>
            <a:spLocks noChangeArrowheads="1"/>
          </p:cNvSpPr>
          <p:nvPr/>
        </p:nvSpPr>
        <p:spPr bwMode="auto">
          <a:xfrm>
            <a:off x="8118697" y="2471978"/>
            <a:ext cx="793712" cy="369332"/>
          </a:xfrm>
          <a:prstGeom prst="rect">
            <a:avLst/>
          </a:prstGeom>
          <a:noFill/>
          <a:ln>
            <a:noFill/>
          </a:ln>
        </p:spPr>
        <p:txBody>
          <a:bodyPr vert="horz" wrap="square" lIns="0" tIns="0" rIns="0" bIns="0" numCol="1" anchor="ctr" anchorCtr="0" compatLnSpc="1">
            <a:prstTxWarp prst="textNoShape">
              <a:avLst/>
            </a:prstTxWarp>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Infrastructure security</a:t>
            </a:r>
          </a:p>
        </p:txBody>
      </p:sp>
      <p:sp>
        <p:nvSpPr>
          <p:cNvPr id="260" name="Freeform: Shape 259" descr="Operations Model">
            <a:extLst>
              <a:ext uri="{FF2B5EF4-FFF2-40B4-BE49-F238E27FC236}">
                <a16:creationId xmlns:a16="http://schemas.microsoft.com/office/drawing/2014/main" id="{DF209FF7-21CD-4F41-8F8C-A08CEABE8E18}"/>
              </a:ext>
            </a:extLst>
          </p:cNvPr>
          <p:cNvSpPr/>
          <p:nvPr/>
        </p:nvSpPr>
        <p:spPr>
          <a:xfrm rot="10800000">
            <a:off x="10321265" y="2263692"/>
            <a:ext cx="783276" cy="786146"/>
          </a:xfrm>
          <a:custGeom>
            <a:avLst/>
            <a:gdLst>
              <a:gd name="connsiteX0" fmla="*/ 632947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632947 w 875635"/>
              <a:gd name="connsiteY10" fmla="*/ 906431 h 906431"/>
              <a:gd name="connsiteX0" fmla="*/ 738884 w 875635"/>
              <a:gd name="connsiteY0" fmla="*/ 906431 h 906431"/>
              <a:gd name="connsiteX1" fmla="*/ 389660 w 875635"/>
              <a:gd name="connsiteY1" fmla="*/ 906431 h 906431"/>
              <a:gd name="connsiteX2" fmla="*/ 0 w 875635"/>
              <a:gd name="connsiteY2" fmla="*/ 516771 h 906431"/>
              <a:gd name="connsiteX3" fmla="*/ 2 w 875635"/>
              <a:gd name="connsiteY3" fmla="*/ 516771 h 906431"/>
              <a:gd name="connsiteX4" fmla="*/ 3684 w 875635"/>
              <a:gd name="connsiteY4" fmla="*/ 498528 h 906431"/>
              <a:gd name="connsiteX5" fmla="*/ 2 w 875635"/>
              <a:gd name="connsiteY5" fmla="*/ 480288 h 906431"/>
              <a:gd name="connsiteX6" fmla="*/ 2 w 875635"/>
              <a:gd name="connsiteY6" fmla="*/ 242688 h 906431"/>
              <a:gd name="connsiteX7" fmla="*/ 779321 w 875635"/>
              <a:gd name="connsiteY7" fmla="*/ 0 h 906431"/>
              <a:gd name="connsiteX8" fmla="*/ 779321 w 875635"/>
              <a:gd name="connsiteY8" fmla="*/ 127111 h 906431"/>
              <a:gd name="connsiteX9" fmla="*/ 875635 w 875635"/>
              <a:gd name="connsiteY9" fmla="*/ 127111 h 906431"/>
              <a:gd name="connsiteX10" fmla="*/ 738884 w 875635"/>
              <a:gd name="connsiteY10" fmla="*/ 906431 h 906431"/>
              <a:gd name="connsiteX0" fmla="*/ 738884 w 779321"/>
              <a:gd name="connsiteY0" fmla="*/ 906431 h 906431"/>
              <a:gd name="connsiteX1" fmla="*/ 389660 w 779321"/>
              <a:gd name="connsiteY1" fmla="*/ 906431 h 906431"/>
              <a:gd name="connsiteX2" fmla="*/ 0 w 779321"/>
              <a:gd name="connsiteY2" fmla="*/ 516771 h 906431"/>
              <a:gd name="connsiteX3" fmla="*/ 2 w 779321"/>
              <a:gd name="connsiteY3" fmla="*/ 516771 h 906431"/>
              <a:gd name="connsiteX4" fmla="*/ 3684 w 779321"/>
              <a:gd name="connsiteY4" fmla="*/ 498528 h 906431"/>
              <a:gd name="connsiteX5" fmla="*/ 2 w 779321"/>
              <a:gd name="connsiteY5" fmla="*/ 480288 h 906431"/>
              <a:gd name="connsiteX6" fmla="*/ 2 w 779321"/>
              <a:gd name="connsiteY6" fmla="*/ 242688 h 906431"/>
              <a:gd name="connsiteX7" fmla="*/ 779321 w 779321"/>
              <a:gd name="connsiteY7" fmla="*/ 0 h 906431"/>
              <a:gd name="connsiteX8" fmla="*/ 779321 w 779321"/>
              <a:gd name="connsiteY8" fmla="*/ 127111 h 906431"/>
              <a:gd name="connsiteX9" fmla="*/ 738884 w 779321"/>
              <a:gd name="connsiteY9" fmla="*/ 906431 h 906431"/>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115577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37518 h 779320"/>
              <a:gd name="connsiteX7" fmla="*/ 779321 w 779321"/>
              <a:gd name="connsiteY7" fmla="*/ 0 h 779320"/>
              <a:gd name="connsiteX8" fmla="*/ 738884 w 779321"/>
              <a:gd name="connsiteY8" fmla="*/ 779320 h 779320"/>
              <a:gd name="connsiteX0" fmla="*/ 738884 w 779321"/>
              <a:gd name="connsiteY0" fmla="*/ 779320 h 779320"/>
              <a:gd name="connsiteX1" fmla="*/ 389660 w 779321"/>
              <a:gd name="connsiteY1" fmla="*/ 779320 h 779320"/>
              <a:gd name="connsiteX2" fmla="*/ 0 w 779321"/>
              <a:gd name="connsiteY2" fmla="*/ 389660 h 779320"/>
              <a:gd name="connsiteX3" fmla="*/ 2 w 779321"/>
              <a:gd name="connsiteY3" fmla="*/ 389660 h 779320"/>
              <a:gd name="connsiteX4" fmla="*/ 3684 w 779321"/>
              <a:gd name="connsiteY4" fmla="*/ 371417 h 779320"/>
              <a:gd name="connsiteX5" fmla="*/ 2 w 779321"/>
              <a:gd name="connsiteY5" fmla="*/ 353177 h 779320"/>
              <a:gd name="connsiteX6" fmla="*/ 2 w 779321"/>
              <a:gd name="connsiteY6" fmla="*/ 20791 h 779320"/>
              <a:gd name="connsiteX7" fmla="*/ 779321 w 779321"/>
              <a:gd name="connsiteY7" fmla="*/ 0 h 779320"/>
              <a:gd name="connsiteX8" fmla="*/ 738884 w 779321"/>
              <a:gd name="connsiteY8" fmla="*/ 779320 h 779320"/>
              <a:gd name="connsiteX0" fmla="*/ 738884 w 757019"/>
              <a:gd name="connsiteY0" fmla="*/ 779320 h 779320"/>
              <a:gd name="connsiteX1" fmla="*/ 389660 w 757019"/>
              <a:gd name="connsiteY1" fmla="*/ 779320 h 779320"/>
              <a:gd name="connsiteX2" fmla="*/ 0 w 757019"/>
              <a:gd name="connsiteY2" fmla="*/ 389660 h 779320"/>
              <a:gd name="connsiteX3" fmla="*/ 2 w 757019"/>
              <a:gd name="connsiteY3" fmla="*/ 389660 h 779320"/>
              <a:gd name="connsiteX4" fmla="*/ 3684 w 757019"/>
              <a:gd name="connsiteY4" fmla="*/ 371417 h 779320"/>
              <a:gd name="connsiteX5" fmla="*/ 2 w 757019"/>
              <a:gd name="connsiteY5" fmla="*/ 353177 h 779320"/>
              <a:gd name="connsiteX6" fmla="*/ 2 w 757019"/>
              <a:gd name="connsiteY6" fmla="*/ 20791 h 779320"/>
              <a:gd name="connsiteX7" fmla="*/ 757019 w 757019"/>
              <a:gd name="connsiteY7" fmla="*/ 0 h 779320"/>
              <a:gd name="connsiteX8" fmla="*/ 738884 w 757019"/>
              <a:gd name="connsiteY8" fmla="*/ 779320 h 779320"/>
              <a:gd name="connsiteX0" fmla="*/ 738884 w 751443"/>
              <a:gd name="connsiteY0" fmla="*/ 779320 h 779320"/>
              <a:gd name="connsiteX1" fmla="*/ 389660 w 751443"/>
              <a:gd name="connsiteY1" fmla="*/ 779320 h 779320"/>
              <a:gd name="connsiteX2" fmla="*/ 0 w 751443"/>
              <a:gd name="connsiteY2" fmla="*/ 389660 h 779320"/>
              <a:gd name="connsiteX3" fmla="*/ 2 w 751443"/>
              <a:gd name="connsiteY3" fmla="*/ 389660 h 779320"/>
              <a:gd name="connsiteX4" fmla="*/ 3684 w 751443"/>
              <a:gd name="connsiteY4" fmla="*/ 371417 h 779320"/>
              <a:gd name="connsiteX5" fmla="*/ 2 w 751443"/>
              <a:gd name="connsiteY5" fmla="*/ 353177 h 779320"/>
              <a:gd name="connsiteX6" fmla="*/ 2 w 751443"/>
              <a:gd name="connsiteY6" fmla="*/ 20791 h 779320"/>
              <a:gd name="connsiteX7" fmla="*/ 751443 w 751443"/>
              <a:gd name="connsiteY7" fmla="*/ 0 h 779320"/>
              <a:gd name="connsiteX8" fmla="*/ 738884 w 751443"/>
              <a:gd name="connsiteY8" fmla="*/ 779320 h 779320"/>
              <a:gd name="connsiteX0" fmla="*/ 738884 w 745974"/>
              <a:gd name="connsiteY0" fmla="*/ 768169 h 768169"/>
              <a:gd name="connsiteX1" fmla="*/ 389660 w 745974"/>
              <a:gd name="connsiteY1" fmla="*/ 768169 h 768169"/>
              <a:gd name="connsiteX2" fmla="*/ 0 w 745974"/>
              <a:gd name="connsiteY2" fmla="*/ 378509 h 768169"/>
              <a:gd name="connsiteX3" fmla="*/ 2 w 745974"/>
              <a:gd name="connsiteY3" fmla="*/ 378509 h 768169"/>
              <a:gd name="connsiteX4" fmla="*/ 3684 w 745974"/>
              <a:gd name="connsiteY4" fmla="*/ 360266 h 768169"/>
              <a:gd name="connsiteX5" fmla="*/ 2 w 745974"/>
              <a:gd name="connsiteY5" fmla="*/ 342026 h 768169"/>
              <a:gd name="connsiteX6" fmla="*/ 2 w 745974"/>
              <a:gd name="connsiteY6" fmla="*/ 9640 h 768169"/>
              <a:gd name="connsiteX7" fmla="*/ 745974 w 745974"/>
              <a:gd name="connsiteY7" fmla="*/ 0 h 768169"/>
              <a:gd name="connsiteX8" fmla="*/ 738884 w 745974"/>
              <a:gd name="connsiteY8" fmla="*/ 768169 h 768169"/>
              <a:gd name="connsiteX0" fmla="*/ 738884 w 745974"/>
              <a:gd name="connsiteY0" fmla="*/ 769680 h 769680"/>
              <a:gd name="connsiteX1" fmla="*/ 389660 w 745974"/>
              <a:gd name="connsiteY1" fmla="*/ 769680 h 769680"/>
              <a:gd name="connsiteX2" fmla="*/ 0 w 745974"/>
              <a:gd name="connsiteY2" fmla="*/ 380020 h 769680"/>
              <a:gd name="connsiteX3" fmla="*/ 2 w 745974"/>
              <a:gd name="connsiteY3" fmla="*/ 380020 h 769680"/>
              <a:gd name="connsiteX4" fmla="*/ 3684 w 745974"/>
              <a:gd name="connsiteY4" fmla="*/ 361777 h 769680"/>
              <a:gd name="connsiteX5" fmla="*/ 2 w 745974"/>
              <a:gd name="connsiteY5" fmla="*/ 343537 h 769680"/>
              <a:gd name="connsiteX6" fmla="*/ 2 w 745974"/>
              <a:gd name="connsiteY6" fmla="*/ 0 h 769680"/>
              <a:gd name="connsiteX7" fmla="*/ 745974 w 745974"/>
              <a:gd name="connsiteY7" fmla="*/ 1511 h 769680"/>
              <a:gd name="connsiteX8" fmla="*/ 738884 w 745974"/>
              <a:gd name="connsiteY8" fmla="*/ 769680 h 76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974" h="769680">
                <a:moveTo>
                  <a:pt x="738884" y="769680"/>
                </a:moveTo>
                <a:lnTo>
                  <a:pt x="389660" y="769680"/>
                </a:lnTo>
                <a:cubicBezTo>
                  <a:pt x="174457" y="769680"/>
                  <a:pt x="0" y="595223"/>
                  <a:pt x="0" y="380020"/>
                </a:cubicBezTo>
                <a:lnTo>
                  <a:pt x="2" y="380020"/>
                </a:lnTo>
                <a:lnTo>
                  <a:pt x="3684" y="361777"/>
                </a:lnTo>
                <a:lnTo>
                  <a:pt x="2" y="343537"/>
                </a:lnTo>
                <a:lnTo>
                  <a:pt x="2" y="0"/>
                </a:lnTo>
                <a:lnTo>
                  <a:pt x="745974" y="1511"/>
                </a:lnTo>
                <a:cubicBezTo>
                  <a:pt x="743611" y="257567"/>
                  <a:pt x="741247" y="513624"/>
                  <a:pt x="738884" y="76968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370" name="Rectangle 369">
            <a:extLst>
              <a:ext uri="{FF2B5EF4-FFF2-40B4-BE49-F238E27FC236}">
                <a16:creationId xmlns:a16="http://schemas.microsoft.com/office/drawing/2014/main" id="{82F62DEB-3E50-4AFB-BE9F-986B284DF814}"/>
              </a:ext>
            </a:extLst>
          </p:cNvPr>
          <p:cNvSpPr/>
          <p:nvPr/>
        </p:nvSpPr>
        <p:spPr>
          <a:xfrm>
            <a:off x="10341556" y="2469583"/>
            <a:ext cx="672949" cy="369332"/>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white"/>
                </a:solidFill>
                <a:effectLst/>
                <a:uLnTx/>
                <a:uFillTx/>
                <a:latin typeface="Segoe UI"/>
                <a:ea typeface="+mn-ea"/>
                <a:cs typeface="+mn-cs"/>
              </a:rPr>
              <a:t>Operations model</a:t>
            </a:r>
          </a:p>
        </p:txBody>
      </p:sp>
      <p:sp>
        <p:nvSpPr>
          <p:cNvPr id="264" name="Freeform: Shape 263" descr="Financial Analysis">
            <a:extLst>
              <a:ext uri="{FF2B5EF4-FFF2-40B4-BE49-F238E27FC236}">
                <a16:creationId xmlns:a16="http://schemas.microsoft.com/office/drawing/2014/main" id="{49AD1B9D-DE79-43C9-B456-44F7A8D8F964}"/>
              </a:ext>
            </a:extLst>
          </p:cNvPr>
          <p:cNvSpPr/>
          <p:nvPr/>
        </p:nvSpPr>
        <p:spPr>
          <a:xfrm rot="10800000">
            <a:off x="3465250" y="3678578"/>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6A8A53DA-00FE-4A47-8D44-F714797A54DA}"/>
              </a:ext>
            </a:extLst>
          </p:cNvPr>
          <p:cNvSpPr/>
          <p:nvPr/>
        </p:nvSpPr>
        <p:spPr>
          <a:xfrm>
            <a:off x="3471354" y="3665063"/>
            <a:ext cx="785769" cy="396399"/>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6" name="Freeform: Shape 265" descr="Migration Strategy">
            <a:extLst>
              <a:ext uri="{FF2B5EF4-FFF2-40B4-BE49-F238E27FC236}">
                <a16:creationId xmlns:a16="http://schemas.microsoft.com/office/drawing/2014/main" id="{AEB77987-37C0-407D-ADF1-F4BD32D8C64F}"/>
              </a:ext>
            </a:extLst>
          </p:cNvPr>
          <p:cNvSpPr/>
          <p:nvPr/>
        </p:nvSpPr>
        <p:spPr>
          <a:xfrm rot="10800000">
            <a:off x="3464924" y="4206984"/>
            <a:ext cx="779319" cy="328168"/>
          </a:xfrm>
          <a:custGeom>
            <a:avLst/>
            <a:gdLst>
              <a:gd name="connsiteX0" fmla="*/ 779318 w 779319"/>
              <a:gd name="connsiteY0" fmla="*/ 328168 h 328168"/>
              <a:gd name="connsiteX1" fmla="*/ 0 w 779319"/>
              <a:gd name="connsiteY1" fmla="*/ 328168 h 328168"/>
              <a:gd name="connsiteX2" fmla="*/ 0 w 779319"/>
              <a:gd name="connsiteY2" fmla="*/ 0 h 328168"/>
              <a:gd name="connsiteX3" fmla="*/ 779319 w 779319"/>
              <a:gd name="connsiteY3" fmla="*/ 0 h 328168"/>
              <a:gd name="connsiteX4" fmla="*/ 779318 w 779319"/>
              <a:gd name="connsiteY4" fmla="*/ 328168 h 328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19" h="328168">
                <a:moveTo>
                  <a:pt x="779318" y="328168"/>
                </a:moveTo>
                <a:lnTo>
                  <a:pt x="0" y="328168"/>
                </a:lnTo>
                <a:lnTo>
                  <a:pt x="0" y="0"/>
                </a:lnTo>
                <a:lnTo>
                  <a:pt x="779319" y="0"/>
                </a:lnTo>
                <a:lnTo>
                  <a:pt x="779318" y="328168"/>
                </a:lnTo>
                <a:close/>
              </a:path>
            </a:pathLst>
          </a:custGeom>
          <a:solidFill>
            <a:srgbClr val="B3F4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7" name="Rectangle 266">
            <a:extLst>
              <a:ext uri="{FF2B5EF4-FFF2-40B4-BE49-F238E27FC236}">
                <a16:creationId xmlns:a16="http://schemas.microsoft.com/office/drawing/2014/main" id="{E0039288-B235-4294-AE95-67CF93FA1816}"/>
              </a:ext>
            </a:extLst>
          </p:cNvPr>
          <p:cNvSpPr/>
          <p:nvPr/>
        </p:nvSpPr>
        <p:spPr>
          <a:xfrm>
            <a:off x="3471027" y="4092463"/>
            <a:ext cx="782921" cy="438813"/>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grpSp>
        <p:nvGrpSpPr>
          <p:cNvPr id="268" name="Group 267">
            <a:extLst>
              <a:ext uri="{FF2B5EF4-FFF2-40B4-BE49-F238E27FC236}">
                <a16:creationId xmlns:a16="http://schemas.microsoft.com/office/drawing/2014/main" id="{70506AD1-063A-4D9F-A01D-08014DD2FF5B}"/>
              </a:ext>
              <a:ext uri="{C183D7F6-B498-43B3-948B-1728B52AA6E4}">
                <adec:decorative xmlns:adec="http://schemas.microsoft.com/office/drawing/2017/decorative" xmlns="" val="1"/>
              </a:ext>
            </a:extLst>
          </p:cNvPr>
          <p:cNvGrpSpPr/>
          <p:nvPr/>
        </p:nvGrpSpPr>
        <p:grpSpPr>
          <a:xfrm rot="16200000">
            <a:off x="3123896" y="3807000"/>
            <a:ext cx="197618" cy="453304"/>
            <a:chOff x="559625" y="2541842"/>
            <a:chExt cx="197618" cy="453304"/>
          </a:xfrm>
          <a:solidFill>
            <a:srgbClr val="9BFAFF"/>
          </a:solidFill>
        </p:grpSpPr>
        <p:sp>
          <p:nvSpPr>
            <p:cNvPr id="269" name="Diamond 268">
              <a:extLst>
                <a:ext uri="{FF2B5EF4-FFF2-40B4-BE49-F238E27FC236}">
                  <a16:creationId xmlns:a16="http://schemas.microsoft.com/office/drawing/2014/main" id="{CAB82B11-7032-4F51-A137-E689799A945E}"/>
                </a:ext>
              </a:extLst>
            </p:cNvPr>
            <p:cNvSpPr/>
            <p:nvPr/>
          </p:nvSpPr>
          <p:spPr>
            <a:xfrm>
              <a:off x="559625" y="2541842"/>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70" name="Straight Connector 269">
              <a:extLst>
                <a:ext uri="{FF2B5EF4-FFF2-40B4-BE49-F238E27FC236}">
                  <a16:creationId xmlns:a16="http://schemas.microsoft.com/office/drawing/2014/main" id="{B9675568-FD5E-4BDF-B3C7-27975DDB718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08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0029" y="5959001"/>
            <a:ext cx="10754328" cy="612576"/>
          </a:xfrm>
          <a:prstGeom prst="rect">
            <a:avLst/>
          </a:prstGeom>
          <a:noFill/>
          <a:ln w="12700">
            <a:noFill/>
            <a:miter lim="800000"/>
            <a:headEnd type="none" w="sm" len="sm"/>
            <a:tailEnd type="none" w="sm" len="sm"/>
          </a:ln>
          <a:effectLst/>
        </p:spPr>
        <p:txBody>
          <a:bodyPr lIns="179212" tIns="143370" rIns="179212" bIns="143370">
            <a:spAutoFit/>
          </a:bodyPr>
          <a:lstStyle/>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 2018 Microsoft Corporation. All rights reserved. Microsoft, Windows, Windows Vista and other product names are or may be registered trademarks and/or trademarks in the U.S. and/or other countries.</a:t>
            </a:r>
          </a:p>
          <a:p>
            <a:pPr defTabSz="913474" eaLnBrk="0" fontAlgn="base" hangingPunct="0">
              <a:spcBef>
                <a:spcPct val="0"/>
              </a:spcBef>
              <a:spcAft>
                <a:spcPct val="0"/>
              </a:spcAft>
              <a:defRPr/>
            </a:pPr>
            <a:r>
              <a:rPr lang="en-US" sz="700" kern="0">
                <a:gradFill>
                  <a:gsLst>
                    <a:gs pos="0">
                      <a:srgbClr val="FFFFFF"/>
                    </a:gs>
                    <a:gs pos="100000">
                      <a:srgbClr val="FFFFFF"/>
                    </a:gs>
                  </a:gsLst>
                  <a:lin ang="5400000" scaled="0"/>
                </a:gradFill>
                <a:latin typeface="Segoe UI" charset="0"/>
                <a:ea typeface="Segoe UI" charset="0"/>
                <a:cs typeface="Segoe UI"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 name="Title 2"/>
          <p:cNvSpPr txBox="1">
            <a:spLocks noGrp="1"/>
          </p:cNvSpPr>
          <p:nvPr>
            <p:ph type="title" idx="4294967295"/>
          </p:nvPr>
        </p:nvSpPr>
        <p:spPr>
          <a:xfrm>
            <a:off x="298386" y="3578367"/>
            <a:ext cx="7630547" cy="623823"/>
          </a:xfrm>
          <a:prstGeom prst="rect">
            <a:avLst/>
          </a:prstGeom>
          <a:noFill/>
          <a:ln>
            <a:noFill/>
            <a:prstDash/>
          </a:ln>
          <a:effectLst/>
        </p:spPr>
        <p:txBody>
          <a:bodyPr rot="0" spcFirstLastPara="0" vertOverflow="overflow" horzOverflow="overflow" vert="horz" wrap="square" lIns="143370" tIns="89607" rIns="143370" bIns="89607" numCol="1" spcCol="0" rtlCol="0" fromWordArt="0" anchor="t" anchorCtr="0" forceAA="0" compatLnSpc="1">
            <a:prstTxWarp prst="textNoShape">
              <a:avLst/>
            </a:prstTxWarp>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2" normalizeH="0" baseline="0" noProof="0" dirty="0">
                <a:ln w="3175">
                  <a:noFill/>
                </a:ln>
                <a:solidFill>
                  <a:srgbClr val="FFFFFF"/>
                </a:solidFill>
                <a:effectLst/>
                <a:uLnTx/>
                <a:uFillTx/>
                <a:latin typeface="Segoe UI Light" charset="0"/>
                <a:ea typeface="Segoe UI Light" charset="0"/>
                <a:cs typeface="Segoe UI Light" charset="0"/>
              </a:rPr>
              <a:t>Thank you for joining us.</a:t>
            </a:r>
          </a:p>
        </p:txBody>
      </p:sp>
      <p:pic>
        <p:nvPicPr>
          <p:cNvPr id="5" name="Picture 4">
            <a:extLst>
              <a:ext uri="{FF2B5EF4-FFF2-40B4-BE49-F238E27FC236}">
                <a16:creationId xmlns:a16="http://schemas.microsoft.com/office/drawing/2014/main" id="{EAFE9B13-2F61-F948-8077-731294A55163}"/>
              </a:ext>
              <a:ext uri="{C183D7F6-B498-43B3-948B-1728B52AA6E4}">
                <adec:decorative xmlns:adec="http://schemas.microsoft.com/office/drawing/2017/decorative" xmlns="" val="1"/>
              </a:ext>
            </a:extLst>
          </p:cNvPr>
          <p:cNvPicPr>
            <a:picLocks noChangeAspect="1"/>
          </p:cNvPicPr>
          <p:nvPr/>
        </p:nvPicPr>
        <p:blipFill>
          <a:blip r:embed="rId3"/>
          <a:stretch>
            <a:fillRect/>
          </a:stretch>
        </p:blipFill>
        <p:spPr>
          <a:xfrm>
            <a:off x="-81280" y="2225040"/>
            <a:ext cx="4767299" cy="1574800"/>
          </a:xfrm>
          <a:prstGeom prst="rect">
            <a:avLst/>
          </a:prstGeom>
        </p:spPr>
      </p:pic>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8" name="Freeform: Shape 187" descr="half circle with cloud migration triggers">
            <a:extLst>
              <a:ext uri="{FF2B5EF4-FFF2-40B4-BE49-F238E27FC236}">
                <a16:creationId xmlns:a16="http://schemas.microsoft.com/office/drawing/2014/main" id="{7B1EBFF1-38FF-40FE-AAD9-E0803674EC7F}"/>
              </a:ext>
            </a:extLst>
          </p:cNvPr>
          <p:cNvSpPr/>
          <p:nvPr/>
        </p:nvSpPr>
        <p:spPr bwMode="auto">
          <a:xfrm>
            <a:off x="2298189" y="1484313"/>
            <a:ext cx="8009614" cy="4184054"/>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tx1">
              <a:lumMod val="50000"/>
              <a:lumOff val="50000"/>
            </a:schemeClr>
          </a:solidFill>
          <a:ln w="9525" cap="flat" cmpd="sng" algn="ctr">
            <a:solidFill>
              <a:schemeClr val="accent2"/>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B964E2BC-F95F-4A70-8D2E-A17A7FD09F61}"/>
              </a:ext>
              <a:ext uri="{C183D7F6-B498-43B3-948B-1728B52AA6E4}">
                <adec:decorative xmlns:adec="http://schemas.microsoft.com/office/drawing/2017/decorative" xmlns="" val="1"/>
              </a:ext>
            </a:extLst>
          </p:cNvPr>
          <p:cNvCxnSpPr>
            <a:cxnSpLocks/>
          </p:cNvCxnSpPr>
          <p:nvPr/>
        </p:nvCxnSpPr>
        <p:spPr>
          <a:xfrm>
            <a:off x="2518161" y="4257821"/>
            <a:ext cx="3804386" cy="1406756"/>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0" name="Straight Connector 189" descr="Business continuity">
            <a:extLst>
              <a:ext uri="{FF2B5EF4-FFF2-40B4-BE49-F238E27FC236}">
                <a16:creationId xmlns:a16="http://schemas.microsoft.com/office/drawing/2014/main" id="{60186B6D-E372-4D50-A858-900B3563401C}"/>
              </a:ext>
            </a:extLst>
          </p:cNvPr>
          <p:cNvCxnSpPr>
            <a:cxnSpLocks/>
          </p:cNvCxnSpPr>
          <p:nvPr/>
        </p:nvCxnSpPr>
        <p:spPr>
          <a:xfrm>
            <a:off x="3698284" y="2457381"/>
            <a:ext cx="2616963" cy="3199229"/>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1" name="Straight Connector 190" descr="Budget and resource contraints">
            <a:extLst>
              <a:ext uri="{FF2B5EF4-FFF2-40B4-BE49-F238E27FC236}">
                <a16:creationId xmlns:a16="http://schemas.microsoft.com/office/drawing/2014/main" id="{42BA9F3C-2AB1-4A94-9963-E2A389857426}"/>
              </a:ext>
            </a:extLst>
          </p:cNvPr>
          <p:cNvCxnSpPr>
            <a:cxnSpLocks/>
          </p:cNvCxnSpPr>
          <p:nvPr/>
        </p:nvCxnSpPr>
        <p:spPr>
          <a:xfrm flipH="1">
            <a:off x="6282641" y="3975943"/>
            <a:ext cx="3690696" cy="1620131"/>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2" name="Straight Connector 191" descr="Rapidly scale web apps and inferatructure">
            <a:extLst>
              <a:ext uri="{FF2B5EF4-FFF2-40B4-BE49-F238E27FC236}">
                <a16:creationId xmlns:a16="http://schemas.microsoft.com/office/drawing/2014/main" id="{68F1A238-A7F0-4736-A99D-6F3672BD259D}"/>
              </a:ext>
            </a:extLst>
          </p:cNvPr>
          <p:cNvCxnSpPr>
            <a:cxnSpLocks/>
          </p:cNvCxnSpPr>
          <p:nvPr/>
        </p:nvCxnSpPr>
        <p:spPr>
          <a:xfrm flipH="1">
            <a:off x="6452354" y="2340705"/>
            <a:ext cx="2305809" cy="3158878"/>
          </a:xfrm>
          <a:prstGeom prst="line">
            <a:avLst/>
          </a:prstGeom>
          <a:noFill/>
          <a:ln w="19050" cap="flat" cmpd="sng" algn="ctr">
            <a:solidFill>
              <a:schemeClr val="tx1">
                <a:lumMod val="65000"/>
                <a:lumOff val="35000"/>
              </a:schemeClr>
            </a:solidFill>
            <a:prstDash val="sysDot"/>
            <a:headEnd type="none" w="lg" len="med"/>
            <a:tailEnd type="none" w="lg" len="med"/>
          </a:ln>
          <a:effectLst/>
        </p:spPr>
      </p:cxnSp>
      <p:cxnSp>
        <p:nvCxnSpPr>
          <p:cNvPr id="194" name="Straight Connector 193" descr="Cybersecurity threats">
            <a:extLst>
              <a:ext uri="{FF2B5EF4-FFF2-40B4-BE49-F238E27FC236}">
                <a16:creationId xmlns:a16="http://schemas.microsoft.com/office/drawing/2014/main" id="{C48F6375-36ED-471F-BC3E-31D56F9080A1}"/>
              </a:ext>
            </a:extLst>
          </p:cNvPr>
          <p:cNvCxnSpPr>
            <a:cxnSpLocks/>
          </p:cNvCxnSpPr>
          <p:nvPr/>
        </p:nvCxnSpPr>
        <p:spPr>
          <a:xfrm>
            <a:off x="6302996" y="1484313"/>
            <a:ext cx="0" cy="4150011"/>
          </a:xfrm>
          <a:prstGeom prst="line">
            <a:avLst/>
          </a:prstGeom>
          <a:noFill/>
          <a:ln w="19050" cap="flat" cmpd="sng" algn="ctr">
            <a:solidFill>
              <a:schemeClr val="tx1">
                <a:lumMod val="65000"/>
                <a:lumOff val="35000"/>
              </a:schemeClr>
            </a:solidFill>
            <a:prstDash val="sysDot"/>
            <a:headEnd type="none" w="lg" len="med"/>
            <a:tailEnd type="none" w="lg" len="med"/>
          </a:ln>
          <a:effectLst/>
        </p:spPr>
      </p:cxnSp>
      <p:sp>
        <p:nvSpPr>
          <p:cNvPr id="196" name="Freeform: Shape 195" descr="Cloud Migration Triggers">
            <a:extLst>
              <a:ext uri="{FF2B5EF4-FFF2-40B4-BE49-F238E27FC236}">
                <a16:creationId xmlns:a16="http://schemas.microsoft.com/office/drawing/2014/main" id="{B54A505F-6826-41E9-9BB8-6D9D5DA748E3}"/>
              </a:ext>
            </a:extLst>
          </p:cNvPr>
          <p:cNvSpPr/>
          <p:nvPr/>
        </p:nvSpPr>
        <p:spPr bwMode="auto">
          <a:xfrm>
            <a:off x="3884332" y="3110644"/>
            <a:ext cx="4837328" cy="2560813"/>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accent1"/>
          </a:solidFill>
          <a:ln w="25400" cap="flat" cmpd="sng" algn="ctr">
            <a:solidFill>
              <a:schemeClr val="accent2"/>
            </a:solid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7" name="Title 1">
            <a:extLst>
              <a:ext uri="{FF2B5EF4-FFF2-40B4-BE49-F238E27FC236}">
                <a16:creationId xmlns:a16="http://schemas.microsoft.com/office/drawing/2014/main" id="{FE05BED0-94E9-4D6C-8445-BBDBE2FC9A2D}"/>
              </a:ext>
            </a:extLst>
          </p:cNvPr>
          <p:cNvSpPr txBox="1">
            <a:spLocks/>
          </p:cNvSpPr>
          <p:nvPr/>
        </p:nvSpPr>
        <p:spPr>
          <a:xfrm>
            <a:off x="4017321" y="4361704"/>
            <a:ext cx="4571351" cy="553841"/>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Cloud migration </a:t>
            </a:r>
          </a:p>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50E6FF"/>
                </a:solidFill>
                <a:effectLst/>
                <a:uLnTx/>
                <a:uFillTx/>
                <a:latin typeface="Segoe UI Semibold"/>
                <a:ea typeface="+mn-ea"/>
                <a:cs typeface="Segoe UI Semibold" panose="020B0702040204020203" pitchFamily="34" charset="0"/>
              </a:rPr>
              <a:t>triggers </a:t>
            </a:r>
          </a:p>
        </p:txBody>
      </p:sp>
      <p:sp>
        <p:nvSpPr>
          <p:cNvPr id="199" name="Rectangle 198">
            <a:extLst>
              <a:ext uri="{FF2B5EF4-FFF2-40B4-BE49-F238E27FC236}">
                <a16:creationId xmlns:a16="http://schemas.microsoft.com/office/drawing/2014/main" id="{4F8D4FFA-C5E3-43DC-B3D5-286F3EEB1EB8}"/>
              </a:ext>
            </a:extLst>
          </p:cNvPr>
          <p:cNvSpPr/>
          <p:nvPr/>
        </p:nvSpPr>
        <p:spPr>
          <a:xfrm>
            <a:off x="6802394" y="888717"/>
            <a:ext cx="1845465"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Cybersecurity </a:t>
            </a:r>
            <a:br>
              <a:rPr kumimoji="0" lang="en-US" sz="1600" b="0" i="0" u="none" strike="noStrike" kern="0" cap="none" spc="0" normalizeH="0" baseline="0" noProof="0">
                <a:ln>
                  <a:noFill/>
                </a:ln>
                <a:solidFill>
                  <a:prstClr val="white"/>
                </a:solidFill>
                <a:effectLst/>
                <a:uLnTx/>
                <a:uFillTx/>
                <a:latin typeface="Segoe UI Semibold"/>
                <a:ea typeface="+mn-ea"/>
                <a:cs typeface="+mn-cs"/>
              </a:rPr>
            </a:br>
            <a:r>
              <a:rPr kumimoji="0" lang="en-US" sz="1600" b="0" i="0" u="none" strike="noStrike" kern="0" cap="none" spc="0" normalizeH="0" baseline="0" noProof="0">
                <a:ln>
                  <a:noFill/>
                </a:ln>
                <a:solidFill>
                  <a:prstClr val="white"/>
                </a:solidFill>
                <a:effectLst/>
                <a:uLnTx/>
                <a:uFillTx/>
                <a:latin typeface="Segoe UI Semibold"/>
                <a:ea typeface="+mn-ea"/>
                <a:cs typeface="+mn-cs"/>
              </a:rPr>
              <a:t>threats</a:t>
            </a:r>
          </a:p>
        </p:txBody>
      </p:sp>
      <p:sp>
        <p:nvSpPr>
          <p:cNvPr id="207" name="Rectangle 206">
            <a:extLst>
              <a:ext uri="{FF2B5EF4-FFF2-40B4-BE49-F238E27FC236}">
                <a16:creationId xmlns:a16="http://schemas.microsoft.com/office/drawing/2014/main" id="{29208F25-4C12-4B73-A6BF-228D83761E4E}"/>
              </a:ext>
            </a:extLst>
          </p:cNvPr>
          <p:cNvSpPr/>
          <p:nvPr/>
        </p:nvSpPr>
        <p:spPr>
          <a:xfrm>
            <a:off x="10111314" y="4451493"/>
            <a:ext cx="2127821"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Budget and resource constraints</a:t>
            </a:r>
            <a:endParaRPr kumimoji="0" lang="en-US" sz="1400" b="0" i="0" u="none" strike="noStrike" kern="0" cap="none" spc="0" normalizeH="0" baseline="0" noProof="0">
              <a:ln>
                <a:noFill/>
              </a:ln>
              <a:solidFill>
                <a:prstClr val="white"/>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DF9023F5-0C0F-40B6-B4D4-2B9083862F9D}"/>
              </a:ext>
            </a:extLst>
          </p:cNvPr>
          <p:cNvSpPr/>
          <p:nvPr/>
        </p:nvSpPr>
        <p:spPr>
          <a:xfrm>
            <a:off x="9228638" y="2553989"/>
            <a:ext cx="2537287" cy="584775"/>
          </a:xfrm>
          <a:prstGeom prst="rect">
            <a:avLst/>
          </a:prstGeom>
        </p:spPr>
        <p:txBody>
          <a:bodyPr wrap="square" lIns="182828">
            <a:spAutoFit/>
          </a:bodyPr>
          <a:lstStyle/>
          <a:p>
            <a:pPr marL="0" marR="0" lvl="0" indent="0" algn="ctr" defTabSz="914016"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mn-ea"/>
                <a:cs typeface="+mn-cs"/>
              </a:rPr>
              <a:t>Rapidly scale web apps and infrastructure</a:t>
            </a:r>
          </a:p>
        </p:txBody>
      </p:sp>
      <p:sp>
        <p:nvSpPr>
          <p:cNvPr id="234" name="Rectangle 233">
            <a:extLst>
              <a:ext uri="{FF2B5EF4-FFF2-40B4-BE49-F238E27FC236}">
                <a16:creationId xmlns:a16="http://schemas.microsoft.com/office/drawing/2014/main" id="{47CA77E9-2F33-4F40-8B8A-6A8AFDBC5855}"/>
              </a:ext>
            </a:extLst>
          </p:cNvPr>
          <p:cNvSpPr/>
          <p:nvPr/>
        </p:nvSpPr>
        <p:spPr>
          <a:xfrm>
            <a:off x="3771049" y="1043065"/>
            <a:ext cx="200922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Semibold"/>
                <a:ea typeface="Calibri" panose="020F0502020204030204" pitchFamily="34" charset="0"/>
                <a:cs typeface="+mn-cs"/>
              </a:rPr>
              <a:t>Cash flow challenges</a:t>
            </a:r>
          </a:p>
        </p:txBody>
      </p:sp>
      <p:sp>
        <p:nvSpPr>
          <p:cNvPr id="241" name="Rectangle 240">
            <a:extLst>
              <a:ext uri="{FF2B5EF4-FFF2-40B4-BE49-F238E27FC236}">
                <a16:creationId xmlns:a16="http://schemas.microsoft.com/office/drawing/2014/main" id="{4B9CAD84-9D7F-4659-A317-3B3D90C135F5}"/>
              </a:ext>
            </a:extLst>
          </p:cNvPr>
          <p:cNvSpPr/>
          <p:nvPr/>
        </p:nvSpPr>
        <p:spPr>
          <a:xfrm>
            <a:off x="437325" y="4678161"/>
            <a:ext cx="2003862" cy="535531"/>
          </a:xfrm>
          <a:prstGeom prst="rect">
            <a:avLst/>
          </a:prstGeom>
        </p:spPr>
        <p:txBody>
          <a:bodyPr wrap="square" lIns="182828">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Semibold"/>
                <a:ea typeface="Calibri" panose="020F0502020204030204" pitchFamily="34" charset="0"/>
                <a:cs typeface="+mn-cs"/>
              </a:rPr>
              <a:t>Datacenter contract expiry</a:t>
            </a:r>
          </a:p>
        </p:txBody>
      </p:sp>
      <p:sp>
        <p:nvSpPr>
          <p:cNvPr id="258" name="Title 257">
            <a:extLst>
              <a:ext uri="{FF2B5EF4-FFF2-40B4-BE49-F238E27FC236}">
                <a16:creationId xmlns:a16="http://schemas.microsoft.com/office/drawing/2014/main" id="{CEA3516D-A8BB-4ECA-B0A3-7EC575F6AE0B}"/>
              </a:ext>
            </a:extLst>
          </p:cNvPr>
          <p:cNvSpPr>
            <a:spLocks noGrp="1"/>
          </p:cNvSpPr>
          <p:nvPr>
            <p:ph type="title" idx="4294967295"/>
          </p:nvPr>
        </p:nvSpPr>
        <p:spPr>
          <a:xfrm>
            <a:off x="1406031" y="2623414"/>
            <a:ext cx="1857319" cy="535531"/>
          </a:xfrm>
          <a:prstGeom prst="rect">
            <a:avLst/>
          </a:prstGeom>
          <a:noFill/>
          <a:ln>
            <a:noFill/>
            <a:prstDash/>
          </a:ln>
          <a:effectLst/>
        </p:spPr>
        <p:txBody>
          <a:bodyPr rot="0" spcFirstLastPara="0" vertOverflow="overflow" horzOverflow="overflow" vert="horz" wrap="square" lIns="182828" tIns="45720" rIns="91440" bIns="45720" numCol="1" spcCol="0" rtlCol="0" fromWordArt="0" anchor="t" anchorCtr="0" forceAA="0" compatLnSpc="1">
            <a:prstTxWarp prst="textNoShape">
              <a:avLst/>
            </a:prstTxWarp>
            <a:spAutoFit/>
          </a:bodyPr>
          <a:lstStyle/>
          <a:p>
            <a:pPr marL="0" marR="0" lvl="0" indent="0" algn="ctr" defTabSz="914016" rtl="0" eaLnBrk="1" fontAlgn="auto" latinLnBrk="0" hangingPunct="1">
              <a:lnSpc>
                <a:spcPct val="90000"/>
              </a:lnSpc>
              <a:spcBef>
                <a:spcPts val="0"/>
              </a:spcBef>
              <a:spcAft>
                <a:spcPts val="80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Semibold"/>
                <a:ea typeface="Calibri" panose="020F0502020204030204" pitchFamily="34" charset="0"/>
                <a:cs typeface="+mn-cs"/>
              </a:rPr>
              <a:t>Business continuity</a:t>
            </a:r>
            <a:endParaRPr kumimoji="0" lang="en-US" sz="1600" b="0" i="0" u="none" strike="noStrike" kern="0" cap="none" spc="0" normalizeH="0" baseline="0" noProof="0" dirty="0">
              <a:ln>
                <a:noFill/>
              </a:ln>
              <a:solidFill>
                <a:prstClr val="white"/>
              </a:solidFill>
              <a:effectLst/>
              <a:uLnTx/>
              <a:uFillTx/>
              <a:latin typeface="Segoe UI Semibold"/>
              <a:ea typeface="+mn-ea"/>
              <a:cs typeface="+mn-cs"/>
            </a:endParaRPr>
          </a:p>
        </p:txBody>
      </p:sp>
      <p:pic>
        <p:nvPicPr>
          <p:cNvPr id="57" name="Graphic 56" descr="Icon of gears">
            <a:extLst>
              <a:ext uri="{FF2B5EF4-FFF2-40B4-BE49-F238E27FC236}">
                <a16:creationId xmlns:a16="http://schemas.microsoft.com/office/drawing/2014/main" id="{E2954E42-3F18-C343-B982-E3F85D26AF95}"/>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3279110" y="3451773"/>
            <a:ext cx="605222" cy="605222"/>
          </a:xfrm>
          <a:prstGeom prst="rect">
            <a:avLst/>
          </a:prstGeom>
        </p:spPr>
      </p:pic>
      <p:grpSp>
        <p:nvGrpSpPr>
          <p:cNvPr id="62" name="Group 61">
            <a:extLst>
              <a:ext uri="{FF2B5EF4-FFF2-40B4-BE49-F238E27FC236}">
                <a16:creationId xmlns:a16="http://schemas.microsoft.com/office/drawing/2014/main" id="{98F2ECD1-B075-BC41-B429-17F27C2E0450}"/>
              </a:ext>
              <a:ext uri="{C183D7F6-B498-43B3-948B-1728B52AA6E4}">
                <adec:decorative xmlns:adec="http://schemas.microsoft.com/office/drawing/2017/decorative" xmlns="" val="1"/>
              </a:ext>
            </a:extLst>
          </p:cNvPr>
          <p:cNvGrpSpPr>
            <a:grpSpLocks noChangeAspect="1"/>
          </p:cNvGrpSpPr>
          <p:nvPr/>
        </p:nvGrpSpPr>
        <p:grpSpPr>
          <a:xfrm>
            <a:off x="6949189" y="2168771"/>
            <a:ext cx="510383" cy="629880"/>
            <a:chOff x="1980078" y="253998"/>
            <a:chExt cx="3830386" cy="4727197"/>
          </a:xfrm>
          <a:solidFill>
            <a:srgbClr val="50E6FF"/>
          </a:solidFill>
        </p:grpSpPr>
        <p:sp>
          <p:nvSpPr>
            <p:cNvPr id="63" name="Rectangle 27">
              <a:extLst>
                <a:ext uri="{FF2B5EF4-FFF2-40B4-BE49-F238E27FC236}">
                  <a16:creationId xmlns:a16="http://schemas.microsoft.com/office/drawing/2014/main" id="{EB914FE3-3875-0549-9604-30F40064FFEE}"/>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29">
              <a:extLst>
                <a:ext uri="{FF2B5EF4-FFF2-40B4-BE49-F238E27FC236}">
                  <a16:creationId xmlns:a16="http://schemas.microsoft.com/office/drawing/2014/main" id="{98BD8C12-991A-D74E-B392-6178C0FFA43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5" name="Freeform 30">
              <a:extLst>
                <a:ext uri="{FF2B5EF4-FFF2-40B4-BE49-F238E27FC236}">
                  <a16:creationId xmlns:a16="http://schemas.microsoft.com/office/drawing/2014/main" id="{10037A79-16DA-B247-A89D-3BCF6A7C566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Shape 141">
              <a:extLst>
                <a:ext uri="{FF2B5EF4-FFF2-40B4-BE49-F238E27FC236}">
                  <a16:creationId xmlns:a16="http://schemas.microsoft.com/office/drawing/2014/main" id="{B5B3E240-3F80-2045-AF7A-F2FDBEE8EAA0}"/>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FBA4D27C-05E2-CA40-859F-66279F3DF2D7}"/>
              </a:ext>
              <a:ext uri="{C183D7F6-B498-43B3-948B-1728B52AA6E4}">
                <adec:decorative xmlns:adec="http://schemas.microsoft.com/office/drawing/2017/decorative" xmlns="" val="1"/>
              </a:ext>
            </a:extLst>
          </p:cNvPr>
          <p:cNvGrpSpPr>
            <a:grpSpLocks noChangeAspect="1"/>
          </p:cNvGrpSpPr>
          <p:nvPr/>
        </p:nvGrpSpPr>
        <p:grpSpPr>
          <a:xfrm>
            <a:off x="4902714" y="2231859"/>
            <a:ext cx="570351" cy="570351"/>
            <a:chOff x="7178226" y="429029"/>
            <a:chExt cx="640080" cy="640080"/>
          </a:xfrm>
        </p:grpSpPr>
        <p:grpSp>
          <p:nvGrpSpPr>
            <p:cNvPr id="68" name="protection against unplanned costs" descr="protection against unplanned costs">
              <a:extLst>
                <a:ext uri="{FF2B5EF4-FFF2-40B4-BE49-F238E27FC236}">
                  <a16:creationId xmlns:a16="http://schemas.microsoft.com/office/drawing/2014/main" id="{86711D1B-AEFA-894F-BE12-FF0B8BAD9CB6}"/>
                </a:ext>
              </a:extLst>
            </p:cNvPr>
            <p:cNvGrpSpPr>
              <a:grpSpLocks noChangeAspect="1"/>
            </p:cNvGrpSpPr>
            <p:nvPr/>
          </p:nvGrpSpPr>
          <p:grpSpPr bwMode="auto">
            <a:xfrm>
              <a:off x="7178226" y="429029"/>
              <a:ext cx="640080" cy="640080"/>
              <a:chOff x="4596" y="773"/>
              <a:chExt cx="260" cy="260"/>
            </a:xfrm>
          </p:grpSpPr>
          <p:sp>
            <p:nvSpPr>
              <p:cNvPr id="70" name="AutoShape 69">
                <a:extLst>
                  <a:ext uri="{FF2B5EF4-FFF2-40B4-BE49-F238E27FC236}">
                    <a16:creationId xmlns:a16="http://schemas.microsoft.com/office/drawing/2014/main" id="{E3253D1C-9854-4E42-8597-AE1AAD6145B0}"/>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71">
                <a:extLst>
                  <a:ext uri="{FF2B5EF4-FFF2-40B4-BE49-F238E27FC236}">
                    <a16:creationId xmlns:a16="http://schemas.microsoft.com/office/drawing/2014/main" id="{AF5603B5-AB41-0B4F-BC5C-0A3487772B7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72">
                <a:extLst>
                  <a:ext uri="{FF2B5EF4-FFF2-40B4-BE49-F238E27FC236}">
                    <a16:creationId xmlns:a16="http://schemas.microsoft.com/office/drawing/2014/main" id="{4CC8A55C-2478-C246-A412-DD96DA3001F8}"/>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Oval 73">
                <a:extLst>
                  <a:ext uri="{FF2B5EF4-FFF2-40B4-BE49-F238E27FC236}">
                    <a16:creationId xmlns:a16="http://schemas.microsoft.com/office/drawing/2014/main" id="{CA688FF9-0653-C541-893A-A3233E3117C1}"/>
                  </a:ext>
                </a:extLst>
              </p:cNvPr>
              <p:cNvSpPr>
                <a:spLocks noChangeArrowheads="1"/>
              </p:cNvSpPr>
              <p:nvPr/>
            </p:nvSpPr>
            <p:spPr bwMode="auto">
              <a:xfrm>
                <a:off x="4664" y="842"/>
                <a:ext cx="124" cy="12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74">
                <a:extLst>
                  <a:ext uri="{FF2B5EF4-FFF2-40B4-BE49-F238E27FC236}">
                    <a16:creationId xmlns:a16="http://schemas.microsoft.com/office/drawing/2014/main" id="{0F7B0BBC-9D81-3A40-9D3E-2B3EF7765545}"/>
                  </a:ext>
                </a:extLst>
              </p:cNvPr>
              <p:cNvSpPr>
                <a:spLocks noChangeAspect="1"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75">
                <a:extLst>
                  <a:ext uri="{FF2B5EF4-FFF2-40B4-BE49-F238E27FC236}">
                    <a16:creationId xmlns:a16="http://schemas.microsoft.com/office/drawing/2014/main" id="{9CBA9A1C-105C-E74A-914E-71CA6980E99F}"/>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9" name="Oval 68">
              <a:extLst>
                <a:ext uri="{FF2B5EF4-FFF2-40B4-BE49-F238E27FC236}">
                  <a16:creationId xmlns:a16="http://schemas.microsoft.com/office/drawing/2014/main" id="{0876D74F-35F8-7044-B270-36AAF136620F}"/>
                </a:ext>
              </a:extLst>
            </p:cNvPr>
            <p:cNvSpPr>
              <a:spLocks noChangeAspect="1"/>
            </p:cNvSpPr>
            <p:nvPr/>
          </p:nvSpPr>
          <p:spPr bwMode="auto">
            <a:xfrm>
              <a:off x="7319920" y="572328"/>
              <a:ext cx="356616" cy="356616"/>
            </a:xfrm>
            <a:prstGeom prst="ellipse">
              <a:avLst/>
            </a:prstGeom>
            <a:no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5D4EBD2D-3594-E943-B3ED-397783B37761}"/>
              </a:ext>
              <a:ext uri="{C183D7F6-B498-43B3-948B-1728B52AA6E4}">
                <adec:decorative xmlns:adec="http://schemas.microsoft.com/office/drawing/2017/decorative" xmlns="" val="1"/>
              </a:ext>
            </a:extLst>
          </p:cNvPr>
          <p:cNvGrpSpPr>
            <a:grpSpLocks noChangeAspect="1"/>
          </p:cNvGrpSpPr>
          <p:nvPr/>
        </p:nvGrpSpPr>
        <p:grpSpPr>
          <a:xfrm>
            <a:off x="2674797" y="4878723"/>
            <a:ext cx="585581" cy="594723"/>
            <a:chOff x="8875978" y="4004735"/>
            <a:chExt cx="1160549" cy="1178667"/>
          </a:xfrm>
        </p:grpSpPr>
        <p:sp>
          <p:nvSpPr>
            <p:cNvPr id="77" name="Rectangle 76">
              <a:extLst>
                <a:ext uri="{FF2B5EF4-FFF2-40B4-BE49-F238E27FC236}">
                  <a16:creationId xmlns:a16="http://schemas.microsoft.com/office/drawing/2014/main" id="{C52043C2-C0FA-5346-AA2E-9C25340B89C2}"/>
                </a:ext>
              </a:extLst>
            </p:cNvPr>
            <p:cNvSpPr/>
            <p:nvPr/>
          </p:nvSpPr>
          <p:spPr bwMode="auto">
            <a:xfrm>
              <a:off x="9228225" y="4004735"/>
              <a:ext cx="808302" cy="10451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F7A9DF0-7687-9E4E-A83B-A11917265CC9}"/>
                </a:ext>
              </a:extLst>
            </p:cNvPr>
            <p:cNvCxnSpPr>
              <a:cxnSpLocks/>
            </p:cNvCxnSpPr>
            <p:nvPr/>
          </p:nvCxnSpPr>
          <p:spPr>
            <a:xfrm>
              <a:off x="9330819" y="4150190"/>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C229C9C-65BF-504F-A5A7-01B4B0843DFF}"/>
                </a:ext>
              </a:extLst>
            </p:cNvPr>
            <p:cNvCxnSpPr>
              <a:cxnSpLocks/>
            </p:cNvCxnSpPr>
            <p:nvPr/>
          </p:nvCxnSpPr>
          <p:spPr>
            <a:xfrm>
              <a:off x="9330819" y="439794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84E42E4-B049-5F4E-A331-8E76DF0024ED}"/>
                </a:ext>
              </a:extLst>
            </p:cNvPr>
            <p:cNvCxnSpPr>
              <a:cxnSpLocks/>
            </p:cNvCxnSpPr>
            <p:nvPr/>
          </p:nvCxnSpPr>
          <p:spPr>
            <a:xfrm>
              <a:off x="9330819" y="4645691"/>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4A61BDA-F1C6-9142-B00B-A4E374EC766B}"/>
                </a:ext>
              </a:extLst>
            </p:cNvPr>
            <p:cNvCxnSpPr>
              <a:cxnSpLocks/>
            </p:cNvCxnSpPr>
            <p:nvPr/>
          </p:nvCxnSpPr>
          <p:spPr>
            <a:xfrm>
              <a:off x="9330819" y="4893442"/>
              <a:ext cx="603115"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3885EB83-23D4-1B48-A801-EC3D105AF181}"/>
                </a:ext>
              </a:extLst>
            </p:cNvPr>
            <p:cNvGrpSpPr/>
            <p:nvPr/>
          </p:nvGrpSpPr>
          <p:grpSpPr>
            <a:xfrm>
              <a:off x="8875978" y="4417296"/>
              <a:ext cx="766106" cy="766106"/>
              <a:chOff x="7974123" y="4223055"/>
              <a:chExt cx="1201324" cy="1201324"/>
            </a:xfrm>
          </p:grpSpPr>
          <p:sp>
            <p:nvSpPr>
              <p:cNvPr id="83" name="Oval 82">
                <a:extLst>
                  <a:ext uri="{FF2B5EF4-FFF2-40B4-BE49-F238E27FC236}">
                    <a16:creationId xmlns:a16="http://schemas.microsoft.com/office/drawing/2014/main" id="{79E49782-39FA-1C44-A24D-9228D9646642}"/>
                  </a:ext>
                </a:extLst>
              </p:cNvPr>
              <p:cNvSpPr/>
              <p:nvPr/>
            </p:nvSpPr>
            <p:spPr bwMode="auto">
              <a:xfrm>
                <a:off x="7974123" y="4223055"/>
                <a:ext cx="1201324" cy="12013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4344208B-8E6C-6C48-BD45-76346E027A2E}"/>
                  </a:ext>
                </a:extLst>
              </p:cNvPr>
              <p:cNvGrpSpPr/>
              <p:nvPr/>
            </p:nvGrpSpPr>
            <p:grpSpPr>
              <a:xfrm>
                <a:off x="8118418" y="4365632"/>
                <a:ext cx="898747" cy="898747"/>
                <a:chOff x="9338503" y="4059214"/>
                <a:chExt cx="898747" cy="898747"/>
              </a:xfrm>
            </p:grpSpPr>
            <p:grpSp>
              <p:nvGrpSpPr>
                <p:cNvPr id="85" name="Group 102">
                  <a:extLst>
                    <a:ext uri="{FF2B5EF4-FFF2-40B4-BE49-F238E27FC236}">
                      <a16:creationId xmlns:a16="http://schemas.microsoft.com/office/drawing/2014/main" id="{5BA797C3-D0DE-F849-B177-531EEDFBF019}"/>
                    </a:ext>
                  </a:extLst>
                </p:cNvPr>
                <p:cNvGrpSpPr>
                  <a:grpSpLocks noChangeAspect="1"/>
                </p:cNvGrpSpPr>
                <p:nvPr/>
              </p:nvGrpSpPr>
              <p:grpSpPr bwMode="auto">
                <a:xfrm rot="1770656">
                  <a:off x="9338503" y="4059214"/>
                  <a:ext cx="898747" cy="898747"/>
                  <a:chOff x="410" y="2781"/>
                  <a:chExt cx="312" cy="312"/>
                </a:xfrm>
              </p:grpSpPr>
              <p:sp>
                <p:nvSpPr>
                  <p:cNvPr id="87" name="Freeform 104">
                    <a:extLst>
                      <a:ext uri="{FF2B5EF4-FFF2-40B4-BE49-F238E27FC236}">
                        <a16:creationId xmlns:a16="http://schemas.microsoft.com/office/drawing/2014/main" id="{DB59E666-192F-554C-B56E-3E4A6ED1A122}"/>
                      </a:ext>
                    </a:extLst>
                  </p:cNvPr>
                  <p:cNvSpPr>
                    <a:spLocks/>
                  </p:cNvSpPr>
                  <p:nvPr/>
                </p:nvSpPr>
                <p:spPr bwMode="auto">
                  <a:xfrm>
                    <a:off x="410" y="2781"/>
                    <a:ext cx="312" cy="312"/>
                  </a:xfrm>
                  <a:custGeom>
                    <a:avLst/>
                    <a:gdLst>
                      <a:gd name="T0" fmla="*/ 682 w 1364"/>
                      <a:gd name="T1" fmla="*/ 1365 h 1365"/>
                      <a:gd name="T2" fmla="*/ 0 w 1364"/>
                      <a:gd name="T3" fmla="*/ 683 h 1365"/>
                      <a:gd name="T4" fmla="*/ 682 w 1364"/>
                      <a:gd name="T5" fmla="*/ 0 h 1365"/>
                      <a:gd name="T6" fmla="*/ 1280 w 1364"/>
                      <a:gd name="T7" fmla="*/ 353 h 1365"/>
                      <a:gd name="T8" fmla="*/ 1311 w 1364"/>
                      <a:gd name="T9" fmla="*/ 409 h 1365"/>
                      <a:gd name="T10" fmla="*/ 1199 w 1364"/>
                      <a:gd name="T11" fmla="*/ 471 h 1365"/>
                      <a:gd name="T12" fmla="*/ 1168 w 1364"/>
                      <a:gd name="T13" fmla="*/ 415 h 1365"/>
                      <a:gd name="T14" fmla="*/ 682 w 1364"/>
                      <a:gd name="T15" fmla="*/ 128 h 1365"/>
                      <a:gd name="T16" fmla="*/ 128 w 1364"/>
                      <a:gd name="T17" fmla="*/ 683 h 1365"/>
                      <a:gd name="T18" fmla="*/ 682 w 1364"/>
                      <a:gd name="T19" fmla="*/ 1237 h 1365"/>
                      <a:gd name="T20" fmla="*/ 1236 w 1364"/>
                      <a:gd name="T21" fmla="*/ 683 h 1365"/>
                      <a:gd name="T22" fmla="*/ 1236 w 1364"/>
                      <a:gd name="T23" fmla="*/ 683 h 1365"/>
                      <a:gd name="T24" fmla="*/ 1364 w 1364"/>
                      <a:gd name="T25" fmla="*/ 683 h 1365"/>
                      <a:gd name="T26" fmla="*/ 1364 w 1364"/>
                      <a:gd name="T27" fmla="*/ 683 h 1365"/>
                      <a:gd name="T28" fmla="*/ 682 w 1364"/>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4" h="1365">
                        <a:moveTo>
                          <a:pt x="682" y="1365"/>
                        </a:moveTo>
                        <a:cubicBezTo>
                          <a:pt x="306" y="1365"/>
                          <a:pt x="0" y="1059"/>
                          <a:pt x="0" y="683"/>
                        </a:cubicBezTo>
                        <a:cubicBezTo>
                          <a:pt x="0" y="306"/>
                          <a:pt x="306" y="0"/>
                          <a:pt x="682" y="0"/>
                        </a:cubicBezTo>
                        <a:cubicBezTo>
                          <a:pt x="930" y="0"/>
                          <a:pt x="1159" y="135"/>
                          <a:pt x="1280" y="353"/>
                        </a:cubicBezTo>
                        <a:cubicBezTo>
                          <a:pt x="1311" y="409"/>
                          <a:pt x="1311" y="409"/>
                          <a:pt x="1311" y="409"/>
                        </a:cubicBezTo>
                        <a:cubicBezTo>
                          <a:pt x="1199" y="471"/>
                          <a:pt x="1199" y="471"/>
                          <a:pt x="1199" y="471"/>
                        </a:cubicBezTo>
                        <a:cubicBezTo>
                          <a:pt x="1168" y="415"/>
                          <a:pt x="1168" y="415"/>
                          <a:pt x="1168" y="415"/>
                        </a:cubicBezTo>
                        <a:cubicBezTo>
                          <a:pt x="1070" y="238"/>
                          <a:pt x="884" y="128"/>
                          <a:pt x="682" y="128"/>
                        </a:cubicBezTo>
                        <a:cubicBezTo>
                          <a:pt x="376" y="128"/>
                          <a:pt x="128" y="377"/>
                          <a:pt x="128" y="683"/>
                        </a:cubicBezTo>
                        <a:cubicBezTo>
                          <a:pt x="128" y="988"/>
                          <a:pt x="376" y="1237"/>
                          <a:pt x="682" y="1237"/>
                        </a:cubicBezTo>
                        <a:cubicBezTo>
                          <a:pt x="988" y="1237"/>
                          <a:pt x="1236" y="988"/>
                          <a:pt x="1236" y="683"/>
                        </a:cubicBezTo>
                        <a:cubicBezTo>
                          <a:pt x="1236" y="683"/>
                          <a:pt x="1236" y="683"/>
                          <a:pt x="1236" y="683"/>
                        </a:cubicBezTo>
                        <a:cubicBezTo>
                          <a:pt x="1364" y="683"/>
                          <a:pt x="1364" y="683"/>
                          <a:pt x="1364" y="683"/>
                        </a:cubicBezTo>
                        <a:cubicBezTo>
                          <a:pt x="1364" y="683"/>
                          <a:pt x="1364" y="683"/>
                          <a:pt x="1364" y="683"/>
                        </a:cubicBezTo>
                        <a:cubicBezTo>
                          <a:pt x="1364" y="1059"/>
                          <a:pt x="1058" y="1365"/>
                          <a:pt x="682" y="136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105">
                    <a:extLst>
                      <a:ext uri="{FF2B5EF4-FFF2-40B4-BE49-F238E27FC236}">
                        <a16:creationId xmlns:a16="http://schemas.microsoft.com/office/drawing/2014/main" id="{D8B05359-32BD-B74E-BD41-418FC5EE747A}"/>
                      </a:ext>
                    </a:extLst>
                  </p:cNvPr>
                  <p:cNvSpPr>
                    <a:spLocks/>
                  </p:cNvSpPr>
                  <p:nvPr/>
                </p:nvSpPr>
                <p:spPr bwMode="auto">
                  <a:xfrm>
                    <a:off x="634" y="2811"/>
                    <a:ext cx="88" cy="87"/>
                  </a:xfrm>
                  <a:custGeom>
                    <a:avLst/>
                    <a:gdLst>
                      <a:gd name="T0" fmla="*/ 0 w 88"/>
                      <a:gd name="T1" fmla="*/ 87 h 87"/>
                      <a:gd name="T2" fmla="*/ 0 w 88"/>
                      <a:gd name="T3" fmla="*/ 58 h 87"/>
                      <a:gd name="T4" fmla="*/ 59 w 88"/>
                      <a:gd name="T5" fmla="*/ 58 h 87"/>
                      <a:gd name="T6" fmla="*/ 59 w 88"/>
                      <a:gd name="T7" fmla="*/ 0 h 87"/>
                      <a:gd name="T8" fmla="*/ 88 w 88"/>
                      <a:gd name="T9" fmla="*/ 0 h 87"/>
                      <a:gd name="T10" fmla="*/ 88 w 88"/>
                      <a:gd name="T11" fmla="*/ 87 h 87"/>
                      <a:gd name="T12" fmla="*/ 0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0" y="87"/>
                        </a:moveTo>
                        <a:lnTo>
                          <a:pt x="0" y="58"/>
                        </a:lnTo>
                        <a:lnTo>
                          <a:pt x="59" y="58"/>
                        </a:lnTo>
                        <a:lnTo>
                          <a:pt x="59" y="0"/>
                        </a:lnTo>
                        <a:lnTo>
                          <a:pt x="88" y="0"/>
                        </a:lnTo>
                        <a:lnTo>
                          <a:pt x="88" y="87"/>
                        </a:lnTo>
                        <a:lnTo>
                          <a:pt x="0" y="8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86" name="Straight Connector 85">
                  <a:extLst>
                    <a:ext uri="{FF2B5EF4-FFF2-40B4-BE49-F238E27FC236}">
                      <a16:creationId xmlns:a16="http://schemas.microsoft.com/office/drawing/2014/main" id="{5200925B-AF3C-5747-9721-1C4EE42D8A26}"/>
                    </a:ext>
                  </a:extLst>
                </p:cNvPr>
                <p:cNvCxnSpPr>
                  <a:cxnSpLocks/>
                </p:cNvCxnSpPr>
                <p:nvPr/>
              </p:nvCxnSpPr>
              <p:spPr>
                <a:xfrm flipH="1">
                  <a:off x="9444241" y="4209453"/>
                  <a:ext cx="643922" cy="567778"/>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1" name="Group 162">
            <a:extLst>
              <a:ext uri="{FF2B5EF4-FFF2-40B4-BE49-F238E27FC236}">
                <a16:creationId xmlns:a16="http://schemas.microsoft.com/office/drawing/2014/main" id="{FA111929-5EFA-0647-B0A6-1CB2ABAD105C}"/>
              </a:ext>
              <a:ext uri="{C183D7F6-B498-43B3-948B-1728B52AA6E4}">
                <adec:decorative xmlns:adec="http://schemas.microsoft.com/office/drawing/2017/decorative" xmlns="" val="1"/>
              </a:ext>
            </a:extLst>
          </p:cNvPr>
          <p:cNvGrpSpPr>
            <a:grpSpLocks noChangeAspect="1"/>
          </p:cNvGrpSpPr>
          <p:nvPr/>
        </p:nvGrpSpPr>
        <p:grpSpPr bwMode="auto">
          <a:xfrm>
            <a:off x="8477056" y="3410163"/>
            <a:ext cx="513710" cy="513709"/>
            <a:chOff x="5194" y="2529"/>
            <a:chExt cx="359" cy="359"/>
          </a:xfrm>
        </p:grpSpPr>
        <p:sp>
          <p:nvSpPr>
            <p:cNvPr id="92" name="AutoShape 161">
              <a:extLst>
                <a:ext uri="{FF2B5EF4-FFF2-40B4-BE49-F238E27FC236}">
                  <a16:creationId xmlns:a16="http://schemas.microsoft.com/office/drawing/2014/main" id="{57E7D28A-84D8-994D-A6AA-6553557B03CB}"/>
                </a:ext>
              </a:extLst>
            </p:cNvPr>
            <p:cNvSpPr>
              <a:spLocks noChangeAspect="1" noChangeArrowheads="1" noTextEdit="1"/>
            </p:cNvSpPr>
            <p:nvPr/>
          </p:nvSpPr>
          <p:spPr bwMode="auto">
            <a:xfrm>
              <a:off x="5194" y="2529"/>
              <a:ext cx="359"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163">
              <a:extLst>
                <a:ext uri="{FF2B5EF4-FFF2-40B4-BE49-F238E27FC236}">
                  <a16:creationId xmlns:a16="http://schemas.microsoft.com/office/drawing/2014/main" id="{1CB879FB-8F7B-B943-956A-BCC5A040E221}"/>
                </a:ext>
              </a:extLst>
            </p:cNvPr>
            <p:cNvSpPr>
              <a:spLocks/>
            </p:cNvSpPr>
            <p:nvPr/>
          </p:nvSpPr>
          <p:spPr bwMode="auto">
            <a:xfrm>
              <a:off x="5194" y="2718"/>
              <a:ext cx="170" cy="170"/>
            </a:xfrm>
            <a:custGeom>
              <a:avLst/>
              <a:gdLst>
                <a:gd name="T0" fmla="*/ 170 w 170"/>
                <a:gd name="T1" fmla="*/ 170 h 170"/>
                <a:gd name="T2" fmla="*/ 0 w 170"/>
                <a:gd name="T3" fmla="*/ 170 h 170"/>
                <a:gd name="T4" fmla="*/ 0 w 170"/>
                <a:gd name="T5" fmla="*/ 0 h 170"/>
                <a:gd name="T6" fmla="*/ 170 w 170"/>
                <a:gd name="T7" fmla="*/ 0 h 170"/>
                <a:gd name="T8" fmla="*/ 170 w 170"/>
                <a:gd name="T9" fmla="*/ 170 h 170"/>
                <a:gd name="T10" fmla="*/ 170 w 170"/>
                <a:gd name="T11" fmla="*/ 170 h 170"/>
              </a:gdLst>
              <a:ahLst/>
              <a:cxnLst>
                <a:cxn ang="0">
                  <a:pos x="T0" y="T1"/>
                </a:cxn>
                <a:cxn ang="0">
                  <a:pos x="T2" y="T3"/>
                </a:cxn>
                <a:cxn ang="0">
                  <a:pos x="T4" y="T5"/>
                </a:cxn>
                <a:cxn ang="0">
                  <a:pos x="T6" y="T7"/>
                </a:cxn>
                <a:cxn ang="0">
                  <a:pos x="T8" y="T9"/>
                </a:cxn>
                <a:cxn ang="0">
                  <a:pos x="T10" y="T11"/>
                </a:cxn>
              </a:cxnLst>
              <a:rect l="0" t="0" r="r" b="b"/>
              <a:pathLst>
                <a:path w="170" h="170">
                  <a:moveTo>
                    <a:pt x="170" y="170"/>
                  </a:moveTo>
                  <a:lnTo>
                    <a:pt x="0" y="170"/>
                  </a:lnTo>
                  <a:lnTo>
                    <a:pt x="0" y="0"/>
                  </a:lnTo>
                  <a:lnTo>
                    <a:pt x="170" y="0"/>
                  </a:lnTo>
                  <a:lnTo>
                    <a:pt x="170" y="170"/>
                  </a:lnTo>
                  <a:lnTo>
                    <a:pt x="170" y="17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164">
              <a:extLst>
                <a:ext uri="{FF2B5EF4-FFF2-40B4-BE49-F238E27FC236}">
                  <a16:creationId xmlns:a16="http://schemas.microsoft.com/office/drawing/2014/main" id="{46A49C29-726D-2B4D-A890-B9925D854257}"/>
                </a:ext>
              </a:extLst>
            </p:cNvPr>
            <p:cNvSpPr>
              <a:spLocks/>
            </p:cNvSpPr>
            <p:nvPr/>
          </p:nvSpPr>
          <p:spPr bwMode="auto">
            <a:xfrm>
              <a:off x="5194" y="2529"/>
              <a:ext cx="359" cy="359"/>
            </a:xfrm>
            <a:custGeom>
              <a:avLst/>
              <a:gdLst>
                <a:gd name="T0" fmla="*/ 359 w 359"/>
                <a:gd name="T1" fmla="*/ 0 h 359"/>
                <a:gd name="T2" fmla="*/ 359 w 359"/>
                <a:gd name="T3" fmla="*/ 0 h 359"/>
                <a:gd name="T4" fmla="*/ 359 w 359"/>
                <a:gd name="T5" fmla="*/ 0 h 359"/>
                <a:gd name="T6" fmla="*/ 189 w 359"/>
                <a:gd name="T7" fmla="*/ 0 h 359"/>
                <a:gd name="T8" fmla="*/ 189 w 359"/>
                <a:gd name="T9" fmla="*/ 0 h 359"/>
                <a:gd name="T10" fmla="*/ 0 w 359"/>
                <a:gd name="T11" fmla="*/ 0 h 359"/>
                <a:gd name="T12" fmla="*/ 0 w 359"/>
                <a:gd name="T13" fmla="*/ 170 h 359"/>
                <a:gd name="T14" fmla="*/ 189 w 359"/>
                <a:gd name="T15" fmla="*/ 170 h 359"/>
                <a:gd name="T16" fmla="*/ 189 w 359"/>
                <a:gd name="T17" fmla="*/ 359 h 359"/>
                <a:gd name="T18" fmla="*/ 359 w 359"/>
                <a:gd name="T19" fmla="*/ 359 h 359"/>
                <a:gd name="T20" fmla="*/ 359 w 359"/>
                <a:gd name="T21" fmla="*/ 170 h 359"/>
                <a:gd name="T22" fmla="*/ 359 w 359"/>
                <a:gd name="T23" fmla="*/ 170 h 359"/>
                <a:gd name="T24" fmla="*/ 359 w 359"/>
                <a:gd name="T25" fmla="*/ 0 h 359"/>
                <a:gd name="T26" fmla="*/ 359 w 359"/>
                <a:gd name="T2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59">
                  <a:moveTo>
                    <a:pt x="359" y="0"/>
                  </a:moveTo>
                  <a:lnTo>
                    <a:pt x="359" y="0"/>
                  </a:lnTo>
                  <a:lnTo>
                    <a:pt x="359" y="0"/>
                  </a:lnTo>
                  <a:lnTo>
                    <a:pt x="189" y="0"/>
                  </a:lnTo>
                  <a:lnTo>
                    <a:pt x="189" y="0"/>
                  </a:lnTo>
                  <a:lnTo>
                    <a:pt x="0" y="0"/>
                  </a:lnTo>
                  <a:lnTo>
                    <a:pt x="0" y="170"/>
                  </a:lnTo>
                  <a:lnTo>
                    <a:pt x="189" y="170"/>
                  </a:lnTo>
                  <a:lnTo>
                    <a:pt x="189" y="359"/>
                  </a:lnTo>
                  <a:lnTo>
                    <a:pt x="359" y="359"/>
                  </a:lnTo>
                  <a:lnTo>
                    <a:pt x="359" y="170"/>
                  </a:lnTo>
                  <a:lnTo>
                    <a:pt x="359" y="17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5" name="Group 80">
            <a:extLst>
              <a:ext uri="{FF2B5EF4-FFF2-40B4-BE49-F238E27FC236}">
                <a16:creationId xmlns:a16="http://schemas.microsoft.com/office/drawing/2014/main" id="{176ED984-7740-944D-BBC7-24DCB730F222}"/>
              </a:ext>
              <a:ext uri="{C183D7F6-B498-43B3-948B-1728B52AA6E4}">
                <adec:decorative xmlns:adec="http://schemas.microsoft.com/office/drawing/2017/decorative" xmlns="" val="1"/>
              </a:ext>
            </a:extLst>
          </p:cNvPr>
          <p:cNvGrpSpPr>
            <a:grpSpLocks noChangeAspect="1"/>
          </p:cNvGrpSpPr>
          <p:nvPr/>
        </p:nvGrpSpPr>
        <p:grpSpPr bwMode="auto">
          <a:xfrm>
            <a:off x="9120544" y="4648029"/>
            <a:ext cx="751871" cy="742355"/>
            <a:chOff x="1614" y="2781"/>
            <a:chExt cx="316" cy="312"/>
          </a:xfrm>
        </p:grpSpPr>
        <p:sp>
          <p:nvSpPr>
            <p:cNvPr id="96" name="Freeform 81">
              <a:extLst>
                <a:ext uri="{FF2B5EF4-FFF2-40B4-BE49-F238E27FC236}">
                  <a16:creationId xmlns:a16="http://schemas.microsoft.com/office/drawing/2014/main" id="{7C9F62CD-25A7-AA41-8A6B-0CE0123C55CE}"/>
                </a:ext>
              </a:extLst>
            </p:cNvPr>
            <p:cNvSpPr>
              <a:spLocks noEditPoints="1"/>
            </p:cNvSpPr>
            <p:nvPr/>
          </p:nvSpPr>
          <p:spPr bwMode="auto">
            <a:xfrm>
              <a:off x="1698" y="2791"/>
              <a:ext cx="232" cy="204"/>
            </a:xfrm>
            <a:custGeom>
              <a:avLst/>
              <a:gdLst>
                <a:gd name="T0" fmla="*/ 508 w 1015"/>
                <a:gd name="T1" fmla="*/ 128 h 896"/>
                <a:gd name="T2" fmla="*/ 626 w 1015"/>
                <a:gd name="T3" fmla="*/ 151 h 896"/>
                <a:gd name="T4" fmla="*/ 801 w 1015"/>
                <a:gd name="T5" fmla="*/ 322 h 896"/>
                <a:gd name="T6" fmla="*/ 805 w 1015"/>
                <a:gd name="T7" fmla="*/ 567 h 896"/>
                <a:gd name="T8" fmla="*/ 685 w 1015"/>
                <a:gd name="T9" fmla="*/ 715 h 896"/>
                <a:gd name="T10" fmla="*/ 600 w 1015"/>
                <a:gd name="T11" fmla="*/ 755 h 896"/>
                <a:gd name="T12" fmla="*/ 507 w 1015"/>
                <a:gd name="T13" fmla="*/ 768 h 896"/>
                <a:gd name="T14" fmla="*/ 389 w 1015"/>
                <a:gd name="T15" fmla="*/ 746 h 896"/>
                <a:gd name="T16" fmla="*/ 214 w 1015"/>
                <a:gd name="T17" fmla="*/ 575 h 896"/>
                <a:gd name="T18" fmla="*/ 210 w 1015"/>
                <a:gd name="T19" fmla="*/ 330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1 w 1015"/>
                <a:gd name="T33" fmla="*/ 283 h 896"/>
                <a:gd name="T34" fmla="*/ 342 w 1015"/>
                <a:gd name="T35" fmla="*/ 864 h 896"/>
                <a:gd name="T36" fmla="*/ 507 w 1015"/>
                <a:gd name="T37" fmla="*/ 896 h 896"/>
                <a:gd name="T38" fmla="*/ 923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6"/>
                    <a:pt x="626" y="151"/>
                  </a:cubicBezTo>
                  <a:cubicBezTo>
                    <a:pt x="705" y="183"/>
                    <a:pt x="768" y="244"/>
                    <a:pt x="801" y="322"/>
                  </a:cubicBezTo>
                  <a:cubicBezTo>
                    <a:pt x="835" y="401"/>
                    <a:pt x="836" y="488"/>
                    <a:pt x="805" y="567"/>
                  </a:cubicBezTo>
                  <a:cubicBezTo>
                    <a:pt x="780" y="628"/>
                    <a:pt x="739" y="679"/>
                    <a:pt x="685" y="715"/>
                  </a:cubicBezTo>
                  <a:cubicBezTo>
                    <a:pt x="659" y="732"/>
                    <a:pt x="630" y="745"/>
                    <a:pt x="600" y="755"/>
                  </a:cubicBezTo>
                  <a:cubicBezTo>
                    <a:pt x="570" y="764"/>
                    <a:pt x="539" y="768"/>
                    <a:pt x="507" y="768"/>
                  </a:cubicBezTo>
                  <a:cubicBezTo>
                    <a:pt x="467" y="768"/>
                    <a:pt x="427" y="761"/>
                    <a:pt x="389" y="746"/>
                  </a:cubicBezTo>
                  <a:cubicBezTo>
                    <a:pt x="310" y="714"/>
                    <a:pt x="247" y="653"/>
                    <a:pt x="214" y="575"/>
                  </a:cubicBezTo>
                  <a:cubicBezTo>
                    <a:pt x="180" y="496"/>
                    <a:pt x="179" y="409"/>
                    <a:pt x="210" y="330"/>
                  </a:cubicBezTo>
                  <a:cubicBezTo>
                    <a:pt x="235" y="269"/>
                    <a:pt x="276" y="218"/>
                    <a:pt x="330" y="182"/>
                  </a:cubicBezTo>
                  <a:cubicBezTo>
                    <a:pt x="356" y="165"/>
                    <a:pt x="385" y="151"/>
                    <a:pt x="415" y="142"/>
                  </a:cubicBezTo>
                  <a:cubicBezTo>
                    <a:pt x="445" y="133"/>
                    <a:pt x="476" y="128"/>
                    <a:pt x="508" y="128"/>
                  </a:cubicBezTo>
                  <a:cubicBezTo>
                    <a:pt x="508" y="128"/>
                    <a:pt x="508" y="128"/>
                    <a:pt x="508" y="128"/>
                  </a:cubicBezTo>
                  <a:cubicBezTo>
                    <a:pt x="508" y="128"/>
                    <a:pt x="508" y="128"/>
                    <a:pt x="508" y="128"/>
                  </a:cubicBezTo>
                  <a:moveTo>
                    <a:pt x="508" y="0"/>
                  </a:moveTo>
                  <a:cubicBezTo>
                    <a:pt x="330" y="0"/>
                    <a:pt x="161" y="107"/>
                    <a:pt x="91" y="283"/>
                  </a:cubicBezTo>
                  <a:cubicBezTo>
                    <a:pt x="0" y="512"/>
                    <a:pt x="112" y="773"/>
                    <a:pt x="342" y="864"/>
                  </a:cubicBezTo>
                  <a:cubicBezTo>
                    <a:pt x="396" y="886"/>
                    <a:pt x="452" y="896"/>
                    <a:pt x="507" y="896"/>
                  </a:cubicBezTo>
                  <a:cubicBezTo>
                    <a:pt x="685" y="896"/>
                    <a:pt x="854" y="790"/>
                    <a:pt x="923" y="614"/>
                  </a:cubicBezTo>
                  <a:cubicBezTo>
                    <a:pt x="1015" y="385"/>
                    <a:pt x="903" y="124"/>
                    <a:pt x="673" y="32"/>
                  </a:cubicBezTo>
                  <a:cubicBezTo>
                    <a:pt x="619" y="11"/>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82">
              <a:extLst>
                <a:ext uri="{FF2B5EF4-FFF2-40B4-BE49-F238E27FC236}">
                  <a16:creationId xmlns:a16="http://schemas.microsoft.com/office/drawing/2014/main" id="{1D68992F-D3E5-E64C-873B-E52BC5BEA858}"/>
                </a:ext>
              </a:extLst>
            </p:cNvPr>
            <p:cNvSpPr>
              <a:spLocks/>
            </p:cNvSpPr>
            <p:nvPr/>
          </p:nvSpPr>
          <p:spPr bwMode="auto">
            <a:xfrm>
              <a:off x="1838" y="2781"/>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83">
              <a:extLst>
                <a:ext uri="{FF2B5EF4-FFF2-40B4-BE49-F238E27FC236}">
                  <a16:creationId xmlns:a16="http://schemas.microsoft.com/office/drawing/2014/main" id="{2D573781-F760-3D4A-BF44-03706E3178AF}"/>
                </a:ext>
              </a:extLst>
            </p:cNvPr>
            <p:cNvSpPr>
              <a:spLocks/>
            </p:cNvSpPr>
            <p:nvPr/>
          </p:nvSpPr>
          <p:spPr bwMode="auto">
            <a:xfrm>
              <a:off x="1759" y="2978"/>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84">
              <a:extLst>
                <a:ext uri="{FF2B5EF4-FFF2-40B4-BE49-F238E27FC236}">
                  <a16:creationId xmlns:a16="http://schemas.microsoft.com/office/drawing/2014/main" id="{19676986-07BC-8146-BCB3-9ACBD0BD7676}"/>
                </a:ext>
              </a:extLst>
            </p:cNvPr>
            <p:cNvSpPr>
              <a:spLocks/>
            </p:cNvSpPr>
            <p:nvPr/>
          </p:nvSpPr>
          <p:spPr bwMode="auto">
            <a:xfrm>
              <a:off x="1899" y="2917"/>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85">
              <a:extLst>
                <a:ext uri="{FF2B5EF4-FFF2-40B4-BE49-F238E27FC236}">
                  <a16:creationId xmlns:a16="http://schemas.microsoft.com/office/drawing/2014/main" id="{FDBFC437-090A-3343-8889-CCC0C5B47CDF}"/>
                </a:ext>
              </a:extLst>
            </p:cNvPr>
            <p:cNvSpPr>
              <a:spLocks/>
            </p:cNvSpPr>
            <p:nvPr/>
          </p:nvSpPr>
          <p:spPr bwMode="auto">
            <a:xfrm>
              <a:off x="1702" y="2838"/>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86">
              <a:extLst>
                <a:ext uri="{FF2B5EF4-FFF2-40B4-BE49-F238E27FC236}">
                  <a16:creationId xmlns:a16="http://schemas.microsoft.com/office/drawing/2014/main" id="{171CAEC9-A8FB-514A-9CB0-3331E5AC0D2B}"/>
                </a:ext>
              </a:extLst>
            </p:cNvPr>
            <p:cNvSpPr>
              <a:spLocks/>
            </p:cNvSpPr>
            <p:nvPr/>
          </p:nvSpPr>
          <p:spPr bwMode="auto">
            <a:xfrm>
              <a:off x="1703" y="2919"/>
              <a:ext cx="28" cy="32"/>
            </a:xfrm>
            <a:custGeom>
              <a:avLst/>
              <a:gdLst>
                <a:gd name="T0" fmla="*/ 17 w 28"/>
                <a:gd name="T1" fmla="*/ 0 h 32"/>
                <a:gd name="T2" fmla="*/ 28 w 28"/>
                <a:gd name="T3" fmla="*/ 24 h 32"/>
                <a:gd name="T4" fmla="*/ 10 w 28"/>
                <a:gd name="T5" fmla="*/ 32 h 32"/>
                <a:gd name="T6" fmla="*/ 0 w 28"/>
                <a:gd name="T7" fmla="*/ 8 h 32"/>
                <a:gd name="T8" fmla="*/ 17 w 28"/>
                <a:gd name="T9" fmla="*/ 0 h 32"/>
              </a:gdLst>
              <a:ahLst/>
              <a:cxnLst>
                <a:cxn ang="0">
                  <a:pos x="T0" y="T1"/>
                </a:cxn>
                <a:cxn ang="0">
                  <a:pos x="T2" y="T3"/>
                </a:cxn>
                <a:cxn ang="0">
                  <a:pos x="T4" y="T5"/>
                </a:cxn>
                <a:cxn ang="0">
                  <a:pos x="T6" y="T7"/>
                </a:cxn>
                <a:cxn ang="0">
                  <a:pos x="T8" y="T9"/>
                </a:cxn>
              </a:cxnLst>
              <a:rect l="0" t="0" r="r" b="b"/>
              <a:pathLst>
                <a:path w="28" h="32">
                  <a:moveTo>
                    <a:pt x="17" y="0"/>
                  </a:moveTo>
                  <a:lnTo>
                    <a:pt x="28" y="24"/>
                  </a:lnTo>
                  <a:lnTo>
                    <a:pt x="10" y="32"/>
                  </a:lnTo>
                  <a:lnTo>
                    <a:pt x="0" y="8"/>
                  </a:lnTo>
                  <a:lnTo>
                    <a:pt x="17"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87">
              <a:extLst>
                <a:ext uri="{FF2B5EF4-FFF2-40B4-BE49-F238E27FC236}">
                  <a16:creationId xmlns:a16="http://schemas.microsoft.com/office/drawing/2014/main" id="{BB44D3D0-BB90-8B40-8679-88EDFF64577A}"/>
                </a:ext>
              </a:extLst>
            </p:cNvPr>
            <p:cNvSpPr>
              <a:spLocks/>
            </p:cNvSpPr>
            <p:nvPr/>
          </p:nvSpPr>
          <p:spPr bwMode="auto">
            <a:xfrm>
              <a:off x="1897" y="2836"/>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88">
              <a:extLst>
                <a:ext uri="{FF2B5EF4-FFF2-40B4-BE49-F238E27FC236}">
                  <a16:creationId xmlns:a16="http://schemas.microsoft.com/office/drawing/2014/main" id="{00089859-9B94-FE4A-B421-739D3846E2BB}"/>
                </a:ext>
              </a:extLst>
            </p:cNvPr>
            <p:cNvSpPr>
              <a:spLocks/>
            </p:cNvSpPr>
            <p:nvPr/>
          </p:nvSpPr>
          <p:spPr bwMode="auto">
            <a:xfrm>
              <a:off x="1840" y="2977"/>
              <a:ext cx="31" cy="27"/>
            </a:xfrm>
            <a:custGeom>
              <a:avLst/>
              <a:gdLst>
                <a:gd name="T0" fmla="*/ 0 w 31"/>
                <a:gd name="T1" fmla="*/ 10 h 27"/>
                <a:gd name="T2" fmla="*/ 24 w 31"/>
                <a:gd name="T3" fmla="*/ 0 h 27"/>
                <a:gd name="T4" fmla="*/ 31 w 31"/>
                <a:gd name="T5" fmla="*/ 17 h 27"/>
                <a:gd name="T6" fmla="*/ 8 w 31"/>
                <a:gd name="T7" fmla="*/ 27 h 27"/>
                <a:gd name="T8" fmla="*/ 0 w 31"/>
                <a:gd name="T9" fmla="*/ 10 h 27"/>
              </a:gdLst>
              <a:ahLst/>
              <a:cxnLst>
                <a:cxn ang="0">
                  <a:pos x="T0" y="T1"/>
                </a:cxn>
                <a:cxn ang="0">
                  <a:pos x="T2" y="T3"/>
                </a:cxn>
                <a:cxn ang="0">
                  <a:pos x="T4" y="T5"/>
                </a:cxn>
                <a:cxn ang="0">
                  <a:pos x="T6" y="T7"/>
                </a:cxn>
                <a:cxn ang="0">
                  <a:pos x="T8" y="T9"/>
                </a:cxn>
              </a:cxnLst>
              <a:rect l="0" t="0" r="r" b="b"/>
              <a:pathLst>
                <a:path w="31" h="27">
                  <a:moveTo>
                    <a:pt x="0" y="10"/>
                  </a:moveTo>
                  <a:lnTo>
                    <a:pt x="24" y="0"/>
                  </a:lnTo>
                  <a:lnTo>
                    <a:pt x="31" y="17"/>
                  </a:lnTo>
                  <a:lnTo>
                    <a:pt x="8" y="27"/>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89">
              <a:extLst>
                <a:ext uri="{FF2B5EF4-FFF2-40B4-BE49-F238E27FC236}">
                  <a16:creationId xmlns:a16="http://schemas.microsoft.com/office/drawing/2014/main" id="{1221BB71-421F-144F-A96C-F60B2D2D0482}"/>
                </a:ext>
              </a:extLst>
            </p:cNvPr>
            <p:cNvSpPr>
              <a:spLocks/>
            </p:cNvSpPr>
            <p:nvPr/>
          </p:nvSpPr>
          <p:spPr bwMode="auto">
            <a:xfrm>
              <a:off x="1756" y="2782"/>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90">
              <a:extLst>
                <a:ext uri="{FF2B5EF4-FFF2-40B4-BE49-F238E27FC236}">
                  <a16:creationId xmlns:a16="http://schemas.microsoft.com/office/drawing/2014/main" id="{20CA9208-A8C4-5741-8828-AEFCD639C085}"/>
                </a:ext>
              </a:extLst>
            </p:cNvPr>
            <p:cNvSpPr>
              <a:spLocks noEditPoints="1"/>
            </p:cNvSpPr>
            <p:nvPr/>
          </p:nvSpPr>
          <p:spPr bwMode="auto">
            <a:xfrm>
              <a:off x="1623" y="2967"/>
              <a:ext cx="118" cy="117"/>
            </a:xfrm>
            <a:custGeom>
              <a:avLst/>
              <a:gdLst>
                <a:gd name="T0" fmla="*/ 257 w 515"/>
                <a:gd name="T1" fmla="*/ 128 h 512"/>
                <a:gd name="T2" fmla="*/ 347 w 515"/>
                <a:gd name="T3" fmla="*/ 165 h 512"/>
                <a:gd name="T4" fmla="*/ 385 w 515"/>
                <a:gd name="T5" fmla="*/ 254 h 512"/>
                <a:gd name="T6" fmla="*/ 349 w 515"/>
                <a:gd name="T7" fmla="*/ 345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59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4"/>
                  </a:cubicBezTo>
                  <a:cubicBezTo>
                    <a:pt x="386" y="289"/>
                    <a:pt x="373" y="321"/>
                    <a:pt x="349" y="345"/>
                  </a:cubicBezTo>
                  <a:cubicBezTo>
                    <a:pt x="325" y="370"/>
                    <a:pt x="293" y="384"/>
                    <a:pt x="259" y="384"/>
                  </a:cubicBezTo>
                  <a:cubicBezTo>
                    <a:pt x="258" y="384"/>
                    <a:pt x="258" y="384"/>
                    <a:pt x="257" y="384"/>
                  </a:cubicBezTo>
                  <a:cubicBezTo>
                    <a:pt x="223" y="384"/>
                    <a:pt x="192" y="371"/>
                    <a:pt x="167" y="347"/>
                  </a:cubicBezTo>
                  <a:cubicBezTo>
                    <a:pt x="143" y="323"/>
                    <a:pt x="130" y="292"/>
                    <a:pt x="129" y="258"/>
                  </a:cubicBezTo>
                  <a:cubicBezTo>
                    <a:pt x="129" y="224"/>
                    <a:pt x="142" y="191"/>
                    <a:pt x="166" y="167"/>
                  </a:cubicBezTo>
                  <a:cubicBezTo>
                    <a:pt x="190" y="142"/>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59"/>
                  </a:cubicBezTo>
                  <a:cubicBezTo>
                    <a:pt x="3" y="400"/>
                    <a:pt x="117" y="512"/>
                    <a:pt x="257" y="512"/>
                  </a:cubicBezTo>
                  <a:cubicBezTo>
                    <a:pt x="258" y="512"/>
                    <a:pt x="260" y="512"/>
                    <a:pt x="261" y="512"/>
                  </a:cubicBezTo>
                  <a:cubicBezTo>
                    <a:pt x="402" y="510"/>
                    <a:pt x="515" y="394"/>
                    <a:pt x="513" y="253"/>
                  </a:cubicBezTo>
                  <a:cubicBezTo>
                    <a:pt x="512" y="113"/>
                    <a:pt x="397" y="0"/>
                    <a:pt x="25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91">
              <a:extLst>
                <a:ext uri="{FF2B5EF4-FFF2-40B4-BE49-F238E27FC236}">
                  <a16:creationId xmlns:a16="http://schemas.microsoft.com/office/drawing/2014/main" id="{65853A4F-8EEA-DB4B-B92F-0C83F612F3C1}"/>
                </a:ext>
              </a:extLst>
            </p:cNvPr>
            <p:cNvSpPr>
              <a:spLocks/>
            </p:cNvSpPr>
            <p:nvPr/>
          </p:nvSpPr>
          <p:spPr bwMode="auto">
            <a:xfrm>
              <a:off x="1674" y="2957"/>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Rectangle 92">
              <a:extLst>
                <a:ext uri="{FF2B5EF4-FFF2-40B4-BE49-F238E27FC236}">
                  <a16:creationId xmlns:a16="http://schemas.microsoft.com/office/drawing/2014/main" id="{583CF346-F2E3-6A48-96DB-5E3DB2A54F6B}"/>
                </a:ext>
              </a:extLst>
            </p:cNvPr>
            <p:cNvSpPr>
              <a:spLocks noChangeArrowheads="1"/>
            </p:cNvSpPr>
            <p:nvPr/>
          </p:nvSpPr>
          <p:spPr bwMode="auto">
            <a:xfrm>
              <a:off x="1676" y="3081"/>
              <a:ext cx="15" cy="1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93">
              <a:extLst>
                <a:ext uri="{FF2B5EF4-FFF2-40B4-BE49-F238E27FC236}">
                  <a16:creationId xmlns:a16="http://schemas.microsoft.com/office/drawing/2014/main" id="{F504BBFF-2DF5-544E-8145-3B28A76B290F}"/>
                </a:ext>
              </a:extLst>
            </p:cNvPr>
            <p:cNvSpPr>
              <a:spLocks/>
            </p:cNvSpPr>
            <p:nvPr/>
          </p:nvSpPr>
          <p:spPr bwMode="auto">
            <a:xfrm>
              <a:off x="1738" y="3018"/>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94">
              <a:extLst>
                <a:ext uri="{FF2B5EF4-FFF2-40B4-BE49-F238E27FC236}">
                  <a16:creationId xmlns:a16="http://schemas.microsoft.com/office/drawing/2014/main" id="{CA7624DD-CD6D-6F47-B137-620B9B241FFA}"/>
                </a:ext>
              </a:extLst>
            </p:cNvPr>
            <p:cNvSpPr>
              <a:spLocks noChangeArrowheads="1"/>
            </p:cNvSpPr>
            <p:nvPr/>
          </p:nvSpPr>
          <p:spPr bwMode="auto">
            <a:xfrm>
              <a:off x="1614" y="3018"/>
              <a:ext cx="12" cy="1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95">
              <a:extLst>
                <a:ext uri="{FF2B5EF4-FFF2-40B4-BE49-F238E27FC236}">
                  <a16:creationId xmlns:a16="http://schemas.microsoft.com/office/drawing/2014/main" id="{25E12217-39E4-F44C-B4E8-CB075BF3BD15}"/>
                </a:ext>
              </a:extLst>
            </p:cNvPr>
            <p:cNvSpPr>
              <a:spLocks/>
            </p:cNvSpPr>
            <p:nvPr/>
          </p:nvSpPr>
          <p:spPr bwMode="auto">
            <a:xfrm>
              <a:off x="1629" y="3060"/>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96">
              <a:extLst>
                <a:ext uri="{FF2B5EF4-FFF2-40B4-BE49-F238E27FC236}">
                  <a16:creationId xmlns:a16="http://schemas.microsoft.com/office/drawing/2014/main" id="{D9065202-E2AE-8649-83B9-D6C269A6F9B8}"/>
                </a:ext>
              </a:extLst>
            </p:cNvPr>
            <p:cNvSpPr>
              <a:spLocks/>
            </p:cNvSpPr>
            <p:nvPr/>
          </p:nvSpPr>
          <p:spPr bwMode="auto">
            <a:xfrm>
              <a:off x="1717" y="2972"/>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97">
              <a:extLst>
                <a:ext uri="{FF2B5EF4-FFF2-40B4-BE49-F238E27FC236}">
                  <a16:creationId xmlns:a16="http://schemas.microsoft.com/office/drawing/2014/main" id="{D2D6E996-F9CF-A14D-B46F-8D32CBC4E926}"/>
                </a:ext>
              </a:extLst>
            </p:cNvPr>
            <p:cNvSpPr>
              <a:spLocks/>
            </p:cNvSpPr>
            <p:nvPr/>
          </p:nvSpPr>
          <p:spPr bwMode="auto">
            <a:xfrm>
              <a:off x="1718" y="3059"/>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98">
              <a:extLst>
                <a:ext uri="{FF2B5EF4-FFF2-40B4-BE49-F238E27FC236}">
                  <a16:creationId xmlns:a16="http://schemas.microsoft.com/office/drawing/2014/main" id="{68A15E6D-A3D3-7644-A169-71AE7CEB1D12}"/>
                </a:ext>
              </a:extLst>
            </p:cNvPr>
            <p:cNvSpPr>
              <a:spLocks/>
            </p:cNvSpPr>
            <p:nvPr/>
          </p:nvSpPr>
          <p:spPr bwMode="auto">
            <a:xfrm>
              <a:off x="1628" y="2973"/>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99">
              <a:extLst>
                <a:ext uri="{FF2B5EF4-FFF2-40B4-BE49-F238E27FC236}">
                  <a16:creationId xmlns:a16="http://schemas.microsoft.com/office/drawing/2014/main" id="{8876C982-4B06-734F-BD42-0BF0E14E1557}"/>
                </a:ext>
              </a:extLst>
            </p:cNvPr>
            <p:cNvSpPr>
              <a:spLocks noEditPoints="1"/>
            </p:cNvSpPr>
            <p:nvPr/>
          </p:nvSpPr>
          <p:spPr bwMode="auto">
            <a:xfrm>
              <a:off x="1783" y="2834"/>
              <a:ext cx="61" cy="118"/>
            </a:xfrm>
            <a:custGeom>
              <a:avLst/>
              <a:gdLst>
                <a:gd name="T0" fmla="*/ 268 w 268"/>
                <a:gd name="T1" fmla="*/ 343 h 513"/>
                <a:gd name="T2" fmla="*/ 239 w 268"/>
                <a:gd name="T3" fmla="*/ 417 h 513"/>
                <a:gd name="T4" fmla="*/ 155 w 268"/>
                <a:gd name="T5" fmla="*/ 451 h 513"/>
                <a:gd name="T6" fmla="*/ 155 w 268"/>
                <a:gd name="T7" fmla="*/ 512 h 513"/>
                <a:gd name="T8" fmla="*/ 113 w 268"/>
                <a:gd name="T9" fmla="*/ 513 h 513"/>
                <a:gd name="T10" fmla="*/ 113 w 268"/>
                <a:gd name="T11" fmla="*/ 454 h 513"/>
                <a:gd name="T12" fmla="*/ 7 w 268"/>
                <a:gd name="T13" fmla="*/ 428 h 513"/>
                <a:gd name="T14" fmla="*/ 7 w 268"/>
                <a:gd name="T15" fmla="*/ 350 h 513"/>
                <a:gd name="T16" fmla="*/ 55 w 268"/>
                <a:gd name="T17" fmla="*/ 374 h 513"/>
                <a:gd name="T18" fmla="*/ 113 w 268"/>
                <a:gd name="T19" fmla="*/ 388 h 513"/>
                <a:gd name="T20" fmla="*/ 113 w 268"/>
                <a:gd name="T21" fmla="*/ 286 h 513"/>
                <a:gd name="T22" fmla="*/ 25 w 268"/>
                <a:gd name="T23" fmla="*/ 236 h 513"/>
                <a:gd name="T24" fmla="*/ 0 w 268"/>
                <a:gd name="T25" fmla="*/ 164 h 513"/>
                <a:gd name="T26" fmla="*/ 31 w 268"/>
                <a:gd name="T27" fmla="*/ 89 h 513"/>
                <a:gd name="T28" fmla="*/ 113 w 268"/>
                <a:gd name="T29" fmla="*/ 53 h 513"/>
                <a:gd name="T30" fmla="*/ 113 w 268"/>
                <a:gd name="T31" fmla="*/ 1 h 513"/>
                <a:gd name="T32" fmla="*/ 155 w 268"/>
                <a:gd name="T33" fmla="*/ 0 h 513"/>
                <a:gd name="T34" fmla="*/ 155 w 268"/>
                <a:gd name="T35" fmla="*/ 51 h 513"/>
                <a:gd name="T36" fmla="*/ 242 w 268"/>
                <a:gd name="T37" fmla="*/ 71 h 513"/>
                <a:gd name="T38" fmla="*/ 242 w 268"/>
                <a:gd name="T39" fmla="*/ 147 h 513"/>
                <a:gd name="T40" fmla="*/ 155 w 268"/>
                <a:gd name="T41" fmla="*/ 117 h 513"/>
                <a:gd name="T42" fmla="*/ 155 w 268"/>
                <a:gd name="T43" fmla="*/ 223 h 513"/>
                <a:gd name="T44" fmla="*/ 242 w 268"/>
                <a:gd name="T45" fmla="*/ 274 h 513"/>
                <a:gd name="T46" fmla="*/ 268 w 268"/>
                <a:gd name="T47" fmla="*/ 343 h 513"/>
                <a:gd name="T48" fmla="*/ 113 w 268"/>
                <a:gd name="T49" fmla="*/ 207 h 513"/>
                <a:gd name="T50" fmla="*/ 113 w 268"/>
                <a:gd name="T51" fmla="*/ 119 h 513"/>
                <a:gd name="T52" fmla="*/ 74 w 268"/>
                <a:gd name="T53" fmla="*/ 159 h 513"/>
                <a:gd name="T54" fmla="*/ 113 w 268"/>
                <a:gd name="T55" fmla="*/ 207 h 513"/>
                <a:gd name="T56" fmla="*/ 194 w 268"/>
                <a:gd name="T57" fmla="*/ 346 h 513"/>
                <a:gd name="T58" fmla="*/ 155 w 268"/>
                <a:gd name="T59" fmla="*/ 301 h 513"/>
                <a:gd name="T60" fmla="*/ 155 w 268"/>
                <a:gd name="T61" fmla="*/ 385 h 513"/>
                <a:gd name="T62" fmla="*/ 194 w 268"/>
                <a:gd name="T63" fmla="*/ 346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3">
                  <a:moveTo>
                    <a:pt x="268" y="343"/>
                  </a:moveTo>
                  <a:cubicBezTo>
                    <a:pt x="268" y="373"/>
                    <a:pt x="258" y="398"/>
                    <a:pt x="239" y="417"/>
                  </a:cubicBezTo>
                  <a:cubicBezTo>
                    <a:pt x="219" y="436"/>
                    <a:pt x="192" y="447"/>
                    <a:pt x="155" y="451"/>
                  </a:cubicBezTo>
                  <a:cubicBezTo>
                    <a:pt x="155" y="512"/>
                    <a:pt x="155" y="512"/>
                    <a:pt x="155" y="512"/>
                  </a:cubicBezTo>
                  <a:cubicBezTo>
                    <a:pt x="113" y="513"/>
                    <a:pt x="113" y="513"/>
                    <a:pt x="113" y="513"/>
                  </a:cubicBezTo>
                  <a:cubicBezTo>
                    <a:pt x="113" y="454"/>
                    <a:pt x="113" y="454"/>
                    <a:pt x="113" y="454"/>
                  </a:cubicBezTo>
                  <a:cubicBezTo>
                    <a:pt x="74" y="453"/>
                    <a:pt x="39" y="445"/>
                    <a:pt x="7" y="428"/>
                  </a:cubicBezTo>
                  <a:cubicBezTo>
                    <a:pt x="7" y="350"/>
                    <a:pt x="7" y="350"/>
                    <a:pt x="7" y="350"/>
                  </a:cubicBezTo>
                  <a:cubicBezTo>
                    <a:pt x="17" y="359"/>
                    <a:pt x="33" y="367"/>
                    <a:pt x="55" y="374"/>
                  </a:cubicBezTo>
                  <a:cubicBezTo>
                    <a:pt x="77" y="382"/>
                    <a:pt x="97" y="386"/>
                    <a:pt x="113" y="388"/>
                  </a:cubicBezTo>
                  <a:cubicBezTo>
                    <a:pt x="113" y="286"/>
                    <a:pt x="113" y="286"/>
                    <a:pt x="113" y="286"/>
                  </a:cubicBezTo>
                  <a:cubicBezTo>
                    <a:pt x="72" y="271"/>
                    <a:pt x="42" y="254"/>
                    <a:pt x="25" y="236"/>
                  </a:cubicBezTo>
                  <a:cubicBezTo>
                    <a:pt x="8" y="217"/>
                    <a:pt x="0" y="194"/>
                    <a:pt x="0" y="164"/>
                  </a:cubicBezTo>
                  <a:cubicBezTo>
                    <a:pt x="0" y="134"/>
                    <a:pt x="10" y="109"/>
                    <a:pt x="31" y="89"/>
                  </a:cubicBezTo>
                  <a:cubicBezTo>
                    <a:pt x="52" y="68"/>
                    <a:pt x="79" y="57"/>
                    <a:pt x="113" y="53"/>
                  </a:cubicBezTo>
                  <a:cubicBezTo>
                    <a:pt x="113" y="1"/>
                    <a:pt x="113" y="1"/>
                    <a:pt x="113" y="1"/>
                  </a:cubicBezTo>
                  <a:cubicBezTo>
                    <a:pt x="155" y="0"/>
                    <a:pt x="155" y="0"/>
                    <a:pt x="155" y="0"/>
                  </a:cubicBezTo>
                  <a:cubicBezTo>
                    <a:pt x="155" y="51"/>
                    <a:pt x="155" y="51"/>
                    <a:pt x="155" y="51"/>
                  </a:cubicBezTo>
                  <a:cubicBezTo>
                    <a:pt x="195" y="53"/>
                    <a:pt x="222" y="60"/>
                    <a:pt x="242" y="71"/>
                  </a:cubicBezTo>
                  <a:cubicBezTo>
                    <a:pt x="242" y="147"/>
                    <a:pt x="242" y="147"/>
                    <a:pt x="242" y="147"/>
                  </a:cubicBezTo>
                  <a:cubicBezTo>
                    <a:pt x="216" y="131"/>
                    <a:pt x="188" y="120"/>
                    <a:pt x="155" y="117"/>
                  </a:cubicBezTo>
                  <a:cubicBezTo>
                    <a:pt x="155" y="223"/>
                    <a:pt x="155" y="223"/>
                    <a:pt x="155" y="223"/>
                  </a:cubicBezTo>
                  <a:cubicBezTo>
                    <a:pt x="196" y="237"/>
                    <a:pt x="224" y="255"/>
                    <a:pt x="242" y="274"/>
                  </a:cubicBezTo>
                  <a:cubicBezTo>
                    <a:pt x="259" y="292"/>
                    <a:pt x="268" y="315"/>
                    <a:pt x="268" y="343"/>
                  </a:cubicBezTo>
                  <a:close/>
                  <a:moveTo>
                    <a:pt x="113" y="207"/>
                  </a:moveTo>
                  <a:cubicBezTo>
                    <a:pt x="113" y="119"/>
                    <a:pt x="113" y="119"/>
                    <a:pt x="113" y="119"/>
                  </a:cubicBezTo>
                  <a:cubicBezTo>
                    <a:pt x="87" y="123"/>
                    <a:pt x="74" y="137"/>
                    <a:pt x="74" y="159"/>
                  </a:cubicBezTo>
                  <a:cubicBezTo>
                    <a:pt x="74" y="179"/>
                    <a:pt x="87" y="195"/>
                    <a:pt x="113" y="207"/>
                  </a:cubicBezTo>
                  <a:close/>
                  <a:moveTo>
                    <a:pt x="194" y="346"/>
                  </a:moveTo>
                  <a:cubicBezTo>
                    <a:pt x="194" y="328"/>
                    <a:pt x="182" y="313"/>
                    <a:pt x="155" y="301"/>
                  </a:cubicBezTo>
                  <a:cubicBezTo>
                    <a:pt x="155" y="385"/>
                    <a:pt x="155" y="385"/>
                    <a:pt x="155" y="385"/>
                  </a:cubicBezTo>
                  <a:cubicBezTo>
                    <a:pt x="182" y="381"/>
                    <a:pt x="194" y="369"/>
                    <a:pt x="194" y="34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363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EE5B-0F7E-4B83-ACE4-3BAB15D65DF1}"/>
              </a:ext>
            </a:extLst>
          </p:cNvPr>
          <p:cNvSpPr>
            <a:spLocks noGrp="1"/>
          </p:cNvSpPr>
          <p:nvPr>
            <p:ph type="title"/>
          </p:nvPr>
        </p:nvSpPr>
        <p:spPr/>
        <p:txBody>
          <a:bodyPr/>
          <a:lstStyle/>
          <a:p>
            <a:r>
              <a:rPr lang="en-US">
                <a:solidFill>
                  <a:schemeClr val="accent3"/>
                </a:solidFill>
              </a:rPr>
              <a:t>How can migrating to the cloud help? </a:t>
            </a:r>
          </a:p>
        </p:txBody>
      </p:sp>
      <p:sp>
        <p:nvSpPr>
          <p:cNvPr id="6" name="TextBox 5">
            <a:extLst>
              <a:ext uri="{FF2B5EF4-FFF2-40B4-BE49-F238E27FC236}">
                <a16:creationId xmlns:a16="http://schemas.microsoft.com/office/drawing/2014/main" id="{C762D2AD-3365-4749-8DE7-B982A55513FA}"/>
              </a:ext>
            </a:extLst>
          </p:cNvPr>
          <p:cNvSpPr txBox="1"/>
          <p:nvPr/>
        </p:nvSpPr>
        <p:spPr>
          <a:xfrm>
            <a:off x="55245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Flip CAPEX to</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OPEX, pay as </a:t>
            </a:r>
            <a:br>
              <a:rPr kumimoji="0" lang="en-US" sz="2400" b="0" i="0" u="none" strike="noStrike" kern="0" cap="none" spc="0" normalizeH="0" baseline="0" noProof="0">
                <a:ln>
                  <a:noFill/>
                </a:ln>
                <a:solidFill>
                  <a:prstClr val="white"/>
                </a:solidFill>
                <a:effectLst/>
                <a:uLnTx/>
                <a:uFillTx/>
                <a:latin typeface="Segoe UI Semibold"/>
                <a:ea typeface="+mn-ea"/>
                <a:cs typeface="+mn-cs"/>
              </a:rPr>
            </a:br>
            <a:r>
              <a:rPr kumimoji="0" lang="en-US" sz="2400" b="0" i="0" u="none" strike="noStrike" kern="0" cap="none" spc="0" normalizeH="0" baseline="0" noProof="0">
                <a:ln>
                  <a:noFill/>
                </a:ln>
                <a:solidFill>
                  <a:prstClr val="white"/>
                </a:solidFill>
                <a:effectLst/>
                <a:uLnTx/>
                <a:uFillTx/>
                <a:latin typeface="Segoe UI Semibold"/>
                <a:ea typeface="+mn-ea"/>
                <a:cs typeface="+mn-cs"/>
              </a:rPr>
              <a:t>you consume</a:t>
            </a:r>
          </a:p>
        </p:txBody>
      </p:sp>
      <p:sp>
        <p:nvSpPr>
          <p:cNvPr id="10" name="TextBox 9">
            <a:extLst>
              <a:ext uri="{FF2B5EF4-FFF2-40B4-BE49-F238E27FC236}">
                <a16:creationId xmlns:a16="http://schemas.microsoft.com/office/drawing/2014/main" id="{4FD3A1A3-E77B-4DB4-8A85-A1881EC4AB7F}"/>
              </a:ext>
            </a:extLst>
          </p:cNvPr>
          <p:cNvSpPr txBox="1"/>
          <p:nvPr/>
        </p:nvSpPr>
        <p:spPr>
          <a:xfrm>
            <a:off x="8623388"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cale to what’s needed, focus on what matters</a:t>
            </a:r>
          </a:p>
        </p:txBody>
      </p:sp>
      <p:sp>
        <p:nvSpPr>
          <p:cNvPr id="5" name="TextBox 4">
            <a:extLst>
              <a:ext uri="{FF2B5EF4-FFF2-40B4-BE49-F238E27FC236}">
                <a16:creationId xmlns:a16="http://schemas.microsoft.com/office/drawing/2014/main" id="{7E8F2CD8-D835-4D62-A709-0CB6DDB47C42}"/>
              </a:ext>
            </a:extLst>
          </p:cNvPr>
          <p:cNvSpPr txBox="1"/>
          <p:nvPr/>
        </p:nvSpPr>
        <p:spPr>
          <a:xfrm>
            <a:off x="4587920" y="3845795"/>
            <a:ext cx="299235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Enhance your organiz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Segoe UI Semibold"/>
                <a:ea typeface="+mn-ea"/>
                <a:cs typeface="+mn-cs"/>
              </a:rPr>
              <a:t>security posture </a:t>
            </a:r>
          </a:p>
        </p:txBody>
      </p:sp>
      <p:grpSp>
        <p:nvGrpSpPr>
          <p:cNvPr id="31" name="profit margin 2" descr="profit margin, financial">
            <a:extLst>
              <a:ext uri="{FF2B5EF4-FFF2-40B4-BE49-F238E27FC236}">
                <a16:creationId xmlns:a16="http://schemas.microsoft.com/office/drawing/2014/main" id="{D82D567E-5AD6-4B50-BF26-5BF63E6435FE}"/>
              </a:ext>
            </a:extLst>
          </p:cNvPr>
          <p:cNvGrpSpPr/>
          <p:nvPr/>
        </p:nvGrpSpPr>
        <p:grpSpPr>
          <a:xfrm>
            <a:off x="1597118" y="2501005"/>
            <a:ext cx="903014" cy="903014"/>
            <a:chOff x="1590051" y="3013965"/>
            <a:chExt cx="411480" cy="411480"/>
          </a:xfrm>
          <a:solidFill>
            <a:schemeClr val="tx2"/>
          </a:solidFill>
        </p:grpSpPr>
        <p:sp>
          <p:nvSpPr>
            <p:cNvPr id="33" name="Freeform: Shape 32">
              <a:extLst>
                <a:ext uri="{FF2B5EF4-FFF2-40B4-BE49-F238E27FC236}">
                  <a16:creationId xmlns:a16="http://schemas.microsoft.com/office/drawing/2014/main" id="{BC0EDD85-042F-426F-BD39-FDD6242804D3}"/>
                </a:ext>
              </a:extLst>
            </p:cNvPr>
            <p:cNvSpPr/>
            <p:nvPr/>
          </p:nvSpPr>
          <p:spPr>
            <a:xfrm>
              <a:off x="1619155" y="3015985"/>
              <a:ext cx="173925" cy="118778"/>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grp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0EFC43BE-1CA6-498B-B83A-8962A204A25B}"/>
                </a:ext>
              </a:extLst>
            </p:cNvPr>
            <p:cNvSpPr/>
            <p:nvPr/>
          </p:nvSpPr>
          <p:spPr>
            <a:xfrm>
              <a:off x="1591400" y="3116717"/>
              <a:ext cx="59389" cy="203619"/>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grp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6428FCC-B8D9-4D04-B621-C99987C3FA5B}"/>
                </a:ext>
              </a:extLst>
            </p:cNvPr>
            <p:cNvSpPr/>
            <p:nvPr/>
          </p:nvSpPr>
          <p:spPr>
            <a:xfrm>
              <a:off x="1619222" y="3299673"/>
              <a:ext cx="173925" cy="118778"/>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grp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687E1E9A-AB32-45F5-861B-4FFD8432C8C3}"/>
                </a:ext>
              </a:extLst>
            </p:cNvPr>
            <p:cNvSpPr/>
            <p:nvPr/>
          </p:nvSpPr>
          <p:spPr>
            <a:xfrm>
              <a:off x="1793324" y="3015985"/>
              <a:ext cx="203619" cy="402996"/>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grp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742AD19-8498-4333-BD25-92AE2302889E}"/>
                </a:ext>
              </a:extLst>
            </p:cNvPr>
            <p:cNvSpPr/>
            <p:nvPr/>
          </p:nvSpPr>
          <p:spPr>
            <a:xfrm>
              <a:off x="1742494" y="3121539"/>
              <a:ext cx="101809" cy="190893"/>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grp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5" name="shield 1" descr="shield, lock">
            <a:extLst>
              <a:ext uri="{FF2B5EF4-FFF2-40B4-BE49-F238E27FC236}">
                <a16:creationId xmlns:a16="http://schemas.microsoft.com/office/drawing/2014/main" id="{2592F4B3-698F-4A61-97E1-19DF8DC368B5}"/>
              </a:ext>
            </a:extLst>
          </p:cNvPr>
          <p:cNvGrpSpPr>
            <a:grpSpLocks noChangeAspect="1"/>
          </p:cNvGrpSpPr>
          <p:nvPr/>
        </p:nvGrpSpPr>
        <p:grpSpPr bwMode="auto">
          <a:xfrm>
            <a:off x="5780661" y="2523281"/>
            <a:ext cx="606866" cy="880932"/>
            <a:chOff x="461" y="3039"/>
            <a:chExt cx="217" cy="315"/>
          </a:xfrm>
        </p:grpSpPr>
        <p:sp>
          <p:nvSpPr>
            <p:cNvPr id="46" name="AutoShape 118">
              <a:extLst>
                <a:ext uri="{FF2B5EF4-FFF2-40B4-BE49-F238E27FC236}">
                  <a16:creationId xmlns:a16="http://schemas.microsoft.com/office/drawing/2014/main" id="{F9CC1238-D0F9-4D3A-B8D7-EBEFC45F8FBD}"/>
                </a:ext>
              </a:extLst>
            </p:cNvPr>
            <p:cNvSpPr>
              <a:spLocks noChangeAspect="1" noChangeArrowheads="1" noTextEdit="1"/>
            </p:cNvSpPr>
            <p:nvPr/>
          </p:nvSpPr>
          <p:spPr bwMode="auto">
            <a:xfrm>
              <a:off x="461" y="3039"/>
              <a:ext cx="217" cy="31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120">
              <a:extLst>
                <a:ext uri="{FF2B5EF4-FFF2-40B4-BE49-F238E27FC236}">
                  <a16:creationId xmlns:a16="http://schemas.microsoft.com/office/drawing/2014/main" id="{406D7630-0467-4611-9B6F-D84F8A906684}"/>
                </a:ext>
              </a:extLst>
            </p:cNvPr>
            <p:cNvSpPr>
              <a:spLocks/>
            </p:cNvSpPr>
            <p:nvPr/>
          </p:nvSpPr>
          <p:spPr bwMode="auto">
            <a:xfrm>
              <a:off x="460" y="3038"/>
              <a:ext cx="218" cy="316"/>
            </a:xfrm>
            <a:custGeom>
              <a:avLst/>
              <a:gdLst>
                <a:gd name="T0" fmla="*/ 131 w 262"/>
                <a:gd name="T1" fmla="*/ 0 h 382"/>
                <a:gd name="T2" fmla="*/ 0 w 262"/>
                <a:gd name="T3" fmla="*/ 49 h 382"/>
                <a:gd name="T4" fmla="*/ 0 w 262"/>
                <a:gd name="T5" fmla="*/ 279 h 382"/>
                <a:gd name="T6" fmla="*/ 130 w 262"/>
                <a:gd name="T7" fmla="*/ 382 h 382"/>
                <a:gd name="T8" fmla="*/ 262 w 262"/>
                <a:gd name="T9" fmla="*/ 280 h 382"/>
                <a:gd name="T10" fmla="*/ 262 w 262"/>
                <a:gd name="T11" fmla="*/ 49 h 382"/>
                <a:gd name="T12" fmla="*/ 132 w 262"/>
                <a:gd name="T13" fmla="*/ 0 h 382"/>
                <a:gd name="T14" fmla="*/ 131 w 262"/>
                <a:gd name="T15" fmla="*/ 0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82">
                  <a:moveTo>
                    <a:pt x="131" y="0"/>
                  </a:moveTo>
                  <a:cubicBezTo>
                    <a:pt x="91" y="23"/>
                    <a:pt x="47" y="39"/>
                    <a:pt x="0" y="49"/>
                  </a:cubicBezTo>
                  <a:cubicBezTo>
                    <a:pt x="0" y="279"/>
                    <a:pt x="0" y="279"/>
                    <a:pt x="0" y="279"/>
                  </a:cubicBezTo>
                  <a:cubicBezTo>
                    <a:pt x="130" y="382"/>
                    <a:pt x="130" y="382"/>
                    <a:pt x="130" y="382"/>
                  </a:cubicBezTo>
                  <a:cubicBezTo>
                    <a:pt x="262" y="280"/>
                    <a:pt x="262" y="280"/>
                    <a:pt x="262" y="280"/>
                  </a:cubicBezTo>
                  <a:cubicBezTo>
                    <a:pt x="262" y="49"/>
                    <a:pt x="262" y="49"/>
                    <a:pt x="262" y="49"/>
                  </a:cubicBezTo>
                  <a:cubicBezTo>
                    <a:pt x="216" y="39"/>
                    <a:pt x="172" y="23"/>
                    <a:pt x="132" y="0"/>
                  </a:cubicBezTo>
                  <a:lnTo>
                    <a:pt x="131" y="0"/>
                  </a:lnTo>
                  <a:close/>
                </a:path>
              </a:pathLst>
            </a:custGeom>
            <a:solidFill>
              <a:srgbClr val="0078D4"/>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121">
              <a:extLst>
                <a:ext uri="{FF2B5EF4-FFF2-40B4-BE49-F238E27FC236}">
                  <a16:creationId xmlns:a16="http://schemas.microsoft.com/office/drawing/2014/main" id="{6D023547-6CC4-4268-B818-37593578916E}"/>
                </a:ext>
              </a:extLst>
            </p:cNvPr>
            <p:cNvSpPr>
              <a:spLocks/>
            </p:cNvSpPr>
            <p:nvPr/>
          </p:nvSpPr>
          <p:spPr bwMode="auto">
            <a:xfrm>
              <a:off x="527" y="3119"/>
              <a:ext cx="84" cy="136"/>
            </a:xfrm>
            <a:custGeom>
              <a:avLst/>
              <a:gdLst>
                <a:gd name="T0" fmla="*/ 101 w 101"/>
                <a:gd name="T1" fmla="*/ 50 h 164"/>
                <a:gd name="T2" fmla="*/ 50 w 101"/>
                <a:gd name="T3" fmla="*/ 0 h 164"/>
                <a:gd name="T4" fmla="*/ 0 w 101"/>
                <a:gd name="T5" fmla="*/ 42 h 164"/>
                <a:gd name="T6" fmla="*/ 21 w 101"/>
                <a:gd name="T7" fmla="*/ 42 h 164"/>
                <a:gd name="T8" fmla="*/ 29 w 101"/>
                <a:gd name="T9" fmla="*/ 29 h 164"/>
                <a:gd name="T10" fmla="*/ 50 w 101"/>
                <a:gd name="T11" fmla="*/ 20 h 164"/>
                <a:gd name="T12" fmla="*/ 72 w 101"/>
                <a:gd name="T13" fmla="*/ 29 h 164"/>
                <a:gd name="T14" fmla="*/ 81 w 101"/>
                <a:gd name="T15" fmla="*/ 50 h 164"/>
                <a:gd name="T16" fmla="*/ 81 w 101"/>
                <a:gd name="T17" fmla="*/ 62 h 164"/>
                <a:gd name="T18" fmla="*/ 0 w 101"/>
                <a:gd name="T19" fmla="*/ 62 h 164"/>
                <a:gd name="T20" fmla="*/ 0 w 101"/>
                <a:gd name="T21" fmla="*/ 164 h 164"/>
                <a:gd name="T22" fmla="*/ 101 w 101"/>
                <a:gd name="T23" fmla="*/ 164 h 164"/>
                <a:gd name="T24" fmla="*/ 101 w 101"/>
                <a:gd name="T25" fmla="*/ 69 h 164"/>
                <a:gd name="T26" fmla="*/ 101 w 101"/>
                <a:gd name="T27"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64">
                  <a:moveTo>
                    <a:pt x="101" y="50"/>
                  </a:moveTo>
                  <a:cubicBezTo>
                    <a:pt x="101" y="22"/>
                    <a:pt x="78" y="0"/>
                    <a:pt x="50" y="0"/>
                  </a:cubicBezTo>
                  <a:cubicBezTo>
                    <a:pt x="25" y="0"/>
                    <a:pt x="4" y="18"/>
                    <a:pt x="0" y="42"/>
                  </a:cubicBezTo>
                  <a:cubicBezTo>
                    <a:pt x="21" y="42"/>
                    <a:pt x="21" y="42"/>
                    <a:pt x="21" y="42"/>
                  </a:cubicBezTo>
                  <a:cubicBezTo>
                    <a:pt x="23" y="37"/>
                    <a:pt x="25" y="33"/>
                    <a:pt x="29" y="29"/>
                  </a:cubicBezTo>
                  <a:cubicBezTo>
                    <a:pt x="35" y="23"/>
                    <a:pt x="42" y="20"/>
                    <a:pt x="50" y="20"/>
                  </a:cubicBezTo>
                  <a:cubicBezTo>
                    <a:pt x="58" y="20"/>
                    <a:pt x="66" y="23"/>
                    <a:pt x="72" y="29"/>
                  </a:cubicBezTo>
                  <a:cubicBezTo>
                    <a:pt x="77" y="35"/>
                    <a:pt x="81" y="42"/>
                    <a:pt x="81" y="50"/>
                  </a:cubicBezTo>
                  <a:cubicBezTo>
                    <a:pt x="81" y="52"/>
                    <a:pt x="81" y="56"/>
                    <a:pt x="81" y="62"/>
                  </a:cubicBezTo>
                  <a:cubicBezTo>
                    <a:pt x="0" y="62"/>
                    <a:pt x="0" y="62"/>
                    <a:pt x="0" y="62"/>
                  </a:cubicBezTo>
                  <a:cubicBezTo>
                    <a:pt x="0" y="164"/>
                    <a:pt x="0" y="164"/>
                    <a:pt x="0" y="164"/>
                  </a:cubicBezTo>
                  <a:cubicBezTo>
                    <a:pt x="101" y="164"/>
                    <a:pt x="101" y="164"/>
                    <a:pt x="101" y="164"/>
                  </a:cubicBezTo>
                  <a:cubicBezTo>
                    <a:pt x="101" y="69"/>
                    <a:pt x="101" y="69"/>
                    <a:pt x="101" y="69"/>
                  </a:cubicBezTo>
                  <a:cubicBezTo>
                    <a:pt x="101" y="60"/>
                    <a:pt x="101" y="52"/>
                    <a:pt x="101" y="50"/>
                  </a:cubicBezTo>
                  <a:close/>
                </a:path>
              </a:pathLst>
            </a:custGeom>
            <a:solidFill>
              <a:srgbClr val="50E6FF"/>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122">
              <a:extLst>
                <a:ext uri="{FF2B5EF4-FFF2-40B4-BE49-F238E27FC236}">
                  <a16:creationId xmlns:a16="http://schemas.microsoft.com/office/drawing/2014/main" id="{393C1F3D-B147-49CB-BE52-C484E5CA5029}"/>
                </a:ext>
              </a:extLst>
            </p:cNvPr>
            <p:cNvSpPr>
              <a:spLocks noChangeArrowheads="1"/>
            </p:cNvSpPr>
            <p:nvPr/>
          </p:nvSpPr>
          <p:spPr bwMode="auto">
            <a:xfrm>
              <a:off x="558" y="3203"/>
              <a:ext cx="20" cy="20"/>
            </a:xfrm>
            <a:prstGeom prst="ellipse">
              <a:avLst/>
            </a:prstGeom>
            <a:solidFill>
              <a:srgbClr val="0078D4"/>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4" name="deploy" descr="deploy">
            <a:extLst>
              <a:ext uri="{FF2B5EF4-FFF2-40B4-BE49-F238E27FC236}">
                <a16:creationId xmlns:a16="http://schemas.microsoft.com/office/drawing/2014/main" id="{5E12C024-B076-42B9-972C-0262605322FF}"/>
              </a:ext>
            </a:extLst>
          </p:cNvPr>
          <p:cNvGrpSpPr/>
          <p:nvPr/>
        </p:nvGrpSpPr>
        <p:grpSpPr>
          <a:xfrm>
            <a:off x="9672866" y="2520484"/>
            <a:ext cx="893394" cy="822124"/>
            <a:chOff x="9141255" y="2173883"/>
            <a:chExt cx="459946" cy="423254"/>
          </a:xfrm>
        </p:grpSpPr>
        <p:sp>
          <p:nvSpPr>
            <p:cNvPr id="55" name="Freeform 5">
              <a:extLst>
                <a:ext uri="{FF2B5EF4-FFF2-40B4-BE49-F238E27FC236}">
                  <a16:creationId xmlns:a16="http://schemas.microsoft.com/office/drawing/2014/main" id="{B08926E2-37F0-439C-9492-39D67C8E7BE0}"/>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6">
              <a:extLst>
                <a:ext uri="{FF2B5EF4-FFF2-40B4-BE49-F238E27FC236}">
                  <a16:creationId xmlns:a16="http://schemas.microsoft.com/office/drawing/2014/main" id="{5E2C7425-4D12-4C75-B2DC-A140A2C46537}"/>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7">
              <a:extLst>
                <a:ext uri="{FF2B5EF4-FFF2-40B4-BE49-F238E27FC236}">
                  <a16:creationId xmlns:a16="http://schemas.microsoft.com/office/drawing/2014/main" id="{14644396-D00B-4BF6-8552-3DD783442DB4}"/>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Oval 8">
              <a:extLst>
                <a:ext uri="{FF2B5EF4-FFF2-40B4-BE49-F238E27FC236}">
                  <a16:creationId xmlns:a16="http://schemas.microsoft.com/office/drawing/2014/main" id="{CDA71863-4DBB-4081-97FA-B4B23147B8D7}"/>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59" name="Straight Connector 58">
            <a:extLst>
              <a:ext uri="{FF2B5EF4-FFF2-40B4-BE49-F238E27FC236}">
                <a16:creationId xmlns:a16="http://schemas.microsoft.com/office/drawing/2014/main" id="{886ED19D-6FB0-46A6-8546-09A057E90C80}"/>
              </a:ext>
              <a:ext uri="{C183D7F6-B498-43B3-948B-1728B52AA6E4}">
                <adec:decorative xmlns:adec="http://schemas.microsoft.com/office/drawing/2017/decorative" xmlns="" val="1"/>
              </a:ext>
            </a:extLst>
          </p:cNvPr>
          <p:cNvCxnSpPr>
            <a:cxnSpLocks/>
          </p:cNvCxnSpPr>
          <p:nvPr/>
        </p:nvCxnSpPr>
        <p:spPr>
          <a:xfrm rot="5400000">
            <a:off x="360916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0" name="Straight Connector 59">
            <a:extLst>
              <a:ext uri="{FF2B5EF4-FFF2-40B4-BE49-F238E27FC236}">
                <a16:creationId xmlns:a16="http://schemas.microsoft.com/office/drawing/2014/main" id="{D1496FB7-669D-4F60-A9C6-3D95921F7A61}"/>
              </a:ext>
              <a:ext uri="{C183D7F6-B498-43B3-948B-1728B52AA6E4}">
                <adec:decorative xmlns:adec="http://schemas.microsoft.com/office/drawing/2017/decorative" xmlns="" val="1"/>
              </a:ext>
            </a:extLst>
          </p:cNvPr>
          <p:cNvCxnSpPr>
            <a:cxnSpLocks/>
          </p:cNvCxnSpPr>
          <p:nvPr/>
        </p:nvCxnSpPr>
        <p:spPr>
          <a:xfrm rot="5400000">
            <a:off x="7644631" y="4392594"/>
            <a:ext cx="914398"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17136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F603205-6258-4D9A-AE8A-496348EEBAAF}"/>
              </a:ext>
            </a:extLst>
          </p:cNvPr>
          <p:cNvSpPr/>
          <p:nvPr/>
        </p:nvSpPr>
        <p:spPr>
          <a:xfrm>
            <a:off x="8435282" y="3841868"/>
            <a:ext cx="3348068"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cale your applications and workloads on-demand</a:t>
            </a:r>
          </a:p>
        </p:txBody>
      </p:sp>
      <p:grpSp>
        <p:nvGrpSpPr>
          <p:cNvPr id="31" name="Group 30">
            <a:extLst>
              <a:ext uri="{FF2B5EF4-FFF2-40B4-BE49-F238E27FC236}">
                <a16:creationId xmlns:a16="http://schemas.microsoft.com/office/drawing/2014/main" id="{E46887A2-DC17-4791-9E37-050A7853F947}"/>
              </a:ext>
              <a:ext uri="{C183D7F6-B498-43B3-948B-1728B52AA6E4}">
                <adec:decorative xmlns:adec="http://schemas.microsoft.com/office/drawing/2017/decorative" xmlns="" val="1"/>
              </a:ext>
            </a:extLst>
          </p:cNvPr>
          <p:cNvGrpSpPr/>
          <p:nvPr/>
        </p:nvGrpSpPr>
        <p:grpSpPr>
          <a:xfrm>
            <a:off x="9584860" y="2491847"/>
            <a:ext cx="741394" cy="992412"/>
            <a:chOff x="2435988" y="2657423"/>
            <a:chExt cx="592799" cy="793505"/>
          </a:xfrm>
          <a:solidFill>
            <a:schemeClr val="tx2"/>
          </a:solidFill>
        </p:grpSpPr>
        <p:grpSp>
          <p:nvGrpSpPr>
            <p:cNvPr id="32" name="Group 31">
              <a:extLst>
                <a:ext uri="{FF2B5EF4-FFF2-40B4-BE49-F238E27FC236}">
                  <a16:creationId xmlns:a16="http://schemas.microsoft.com/office/drawing/2014/main" id="{2B81618A-E7DB-408D-B205-95F71D9B07B4}"/>
                </a:ext>
              </a:extLst>
            </p:cNvPr>
            <p:cNvGrpSpPr/>
            <p:nvPr/>
          </p:nvGrpSpPr>
          <p:grpSpPr>
            <a:xfrm>
              <a:off x="2654323" y="2657423"/>
              <a:ext cx="280496" cy="433018"/>
              <a:chOff x="4618192" y="3619501"/>
              <a:chExt cx="411846" cy="635792"/>
            </a:xfrm>
            <a:grpFill/>
          </p:grpSpPr>
          <p:sp>
            <p:nvSpPr>
              <p:cNvPr id="39" name="Freeform 5">
                <a:extLst>
                  <a:ext uri="{FF2B5EF4-FFF2-40B4-BE49-F238E27FC236}">
                    <a16:creationId xmlns:a16="http://schemas.microsoft.com/office/drawing/2014/main" id="{5F8E3DC7-AD9A-4E0B-B277-13B0184D9131}"/>
                  </a:ext>
                </a:extLst>
              </p:cNvPr>
              <p:cNvSpPr>
                <a:spLocks/>
              </p:cNvSpPr>
              <p:nvPr/>
            </p:nvSpPr>
            <p:spPr bwMode="auto">
              <a:xfrm>
                <a:off x="4618192" y="3619501"/>
                <a:ext cx="411846" cy="460197"/>
              </a:xfrm>
              <a:custGeom>
                <a:avLst/>
                <a:gdLst>
                  <a:gd name="T0" fmla="*/ 483 w 666"/>
                  <a:gd name="T1" fmla="*/ 745 h 745"/>
                  <a:gd name="T2" fmla="*/ 180 w 666"/>
                  <a:gd name="T3" fmla="*/ 745 h 745"/>
                  <a:gd name="T4" fmla="*/ 165 w 666"/>
                  <a:gd name="T5" fmla="*/ 693 h 745"/>
                  <a:gd name="T6" fmla="*/ 112 w 666"/>
                  <a:gd name="T7" fmla="*/ 602 h 745"/>
                  <a:gd name="T8" fmla="*/ 42 w 666"/>
                  <a:gd name="T9" fmla="*/ 493 h 745"/>
                  <a:gd name="T10" fmla="*/ 2 w 666"/>
                  <a:gd name="T11" fmla="*/ 333 h 745"/>
                  <a:gd name="T12" fmla="*/ 35 w 666"/>
                  <a:gd name="T13" fmla="*/ 180 h 745"/>
                  <a:gd name="T14" fmla="*/ 134 w 666"/>
                  <a:gd name="T15" fmla="*/ 69 h 745"/>
                  <a:gd name="T16" fmla="*/ 280 w 666"/>
                  <a:gd name="T17" fmla="*/ 9 h 745"/>
                  <a:gd name="T18" fmla="*/ 455 w 666"/>
                  <a:gd name="T19" fmla="*/ 29 h 745"/>
                  <a:gd name="T20" fmla="*/ 576 w 666"/>
                  <a:gd name="T21" fmla="*/ 111 h 745"/>
                  <a:gd name="T22" fmla="*/ 656 w 666"/>
                  <a:gd name="T23" fmla="*/ 275 h 745"/>
                  <a:gd name="T24" fmla="*/ 622 w 666"/>
                  <a:gd name="T25" fmla="*/ 488 h 745"/>
                  <a:gd name="T26" fmla="*/ 560 w 666"/>
                  <a:gd name="T27" fmla="*/ 587 h 745"/>
                  <a:gd name="T28" fmla="*/ 509 w 666"/>
                  <a:gd name="T29" fmla="*/ 667 h 745"/>
                  <a:gd name="T30" fmla="*/ 483 w 666"/>
                  <a:gd name="T3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6" h="745">
                    <a:moveTo>
                      <a:pt x="483" y="745"/>
                    </a:moveTo>
                    <a:cubicBezTo>
                      <a:pt x="381" y="745"/>
                      <a:pt x="280" y="745"/>
                      <a:pt x="180" y="745"/>
                    </a:cubicBezTo>
                    <a:cubicBezTo>
                      <a:pt x="175" y="727"/>
                      <a:pt x="171" y="710"/>
                      <a:pt x="165" y="693"/>
                    </a:cubicBezTo>
                    <a:cubicBezTo>
                      <a:pt x="152" y="660"/>
                      <a:pt x="132" y="630"/>
                      <a:pt x="112" y="602"/>
                    </a:cubicBezTo>
                    <a:cubicBezTo>
                      <a:pt x="87" y="567"/>
                      <a:pt x="61" y="532"/>
                      <a:pt x="42" y="493"/>
                    </a:cubicBezTo>
                    <a:cubicBezTo>
                      <a:pt x="16" y="443"/>
                      <a:pt x="4" y="389"/>
                      <a:pt x="2" y="333"/>
                    </a:cubicBezTo>
                    <a:cubicBezTo>
                      <a:pt x="0" y="279"/>
                      <a:pt x="10" y="228"/>
                      <a:pt x="35" y="180"/>
                    </a:cubicBezTo>
                    <a:cubicBezTo>
                      <a:pt x="59" y="135"/>
                      <a:pt x="92" y="98"/>
                      <a:pt x="134" y="69"/>
                    </a:cubicBezTo>
                    <a:cubicBezTo>
                      <a:pt x="178" y="38"/>
                      <a:pt x="226" y="17"/>
                      <a:pt x="280" y="9"/>
                    </a:cubicBezTo>
                    <a:cubicBezTo>
                      <a:pt x="340" y="0"/>
                      <a:pt x="399" y="7"/>
                      <a:pt x="455" y="29"/>
                    </a:cubicBezTo>
                    <a:cubicBezTo>
                      <a:pt x="501" y="48"/>
                      <a:pt x="542" y="75"/>
                      <a:pt x="576" y="111"/>
                    </a:cubicBezTo>
                    <a:cubicBezTo>
                      <a:pt x="620" y="157"/>
                      <a:pt x="648" y="212"/>
                      <a:pt x="656" y="275"/>
                    </a:cubicBezTo>
                    <a:cubicBezTo>
                      <a:pt x="666" y="350"/>
                      <a:pt x="654" y="421"/>
                      <a:pt x="622" y="488"/>
                    </a:cubicBezTo>
                    <a:cubicBezTo>
                      <a:pt x="605" y="523"/>
                      <a:pt x="582" y="555"/>
                      <a:pt x="560" y="587"/>
                    </a:cubicBezTo>
                    <a:cubicBezTo>
                      <a:pt x="542" y="613"/>
                      <a:pt x="524" y="639"/>
                      <a:pt x="509" y="667"/>
                    </a:cubicBezTo>
                    <a:cubicBezTo>
                      <a:pt x="495" y="690"/>
                      <a:pt x="486" y="717"/>
                      <a:pt x="483" y="7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21">
                <a:extLst>
                  <a:ext uri="{FF2B5EF4-FFF2-40B4-BE49-F238E27FC236}">
                    <a16:creationId xmlns:a16="http://schemas.microsoft.com/office/drawing/2014/main" id="{00CDD096-C086-4936-8A98-9CF776154560}"/>
                  </a:ext>
                </a:extLst>
              </p:cNvPr>
              <p:cNvGrpSpPr>
                <a:grpSpLocks noChangeAspect="1"/>
              </p:cNvGrpSpPr>
              <p:nvPr/>
            </p:nvGrpSpPr>
            <p:grpSpPr bwMode="auto">
              <a:xfrm>
                <a:off x="4729973" y="4093368"/>
                <a:ext cx="183352" cy="161925"/>
                <a:chOff x="2987" y="2673"/>
                <a:chExt cx="97" cy="138"/>
              </a:xfrm>
              <a:grpFill/>
            </p:grpSpPr>
            <p:sp>
              <p:nvSpPr>
                <p:cNvPr id="42" name="Rectangle 22">
                  <a:extLst>
                    <a:ext uri="{FF2B5EF4-FFF2-40B4-BE49-F238E27FC236}">
                      <a16:creationId xmlns:a16="http://schemas.microsoft.com/office/drawing/2014/main" id="{5D6B6D3A-1E6A-4CA1-AAB6-9770CEF2B949}"/>
                    </a:ext>
                  </a:extLst>
                </p:cNvPr>
                <p:cNvSpPr>
                  <a:spLocks noChangeArrowheads="1"/>
                </p:cNvSpPr>
                <p:nvPr/>
              </p:nvSpPr>
              <p:spPr bwMode="auto">
                <a:xfrm>
                  <a:off x="2987" y="2673"/>
                  <a:ext cx="97" cy="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23">
                  <a:extLst>
                    <a:ext uri="{FF2B5EF4-FFF2-40B4-BE49-F238E27FC236}">
                      <a16:creationId xmlns:a16="http://schemas.microsoft.com/office/drawing/2014/main" id="{3921E89A-4680-4492-A0DE-90773039C99C}"/>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 name="T8" fmla="*/ 97 w 97"/>
                    <a:gd name="T9" fmla="*/ 0 h 41"/>
                  </a:gdLst>
                  <a:ahLst/>
                  <a:cxnLst>
                    <a:cxn ang="0">
                      <a:pos x="T0" y="T1"/>
                    </a:cxn>
                    <a:cxn ang="0">
                      <a:pos x="T2" y="T3"/>
                    </a:cxn>
                    <a:cxn ang="0">
                      <a:pos x="T4" y="T5"/>
                    </a:cxn>
                    <a:cxn ang="0">
                      <a:pos x="T6" y="T7"/>
                    </a:cxn>
                    <a:cxn ang="0">
                      <a:pos x="T8" y="T9"/>
                    </a:cxn>
                  </a:cxnLst>
                  <a:rect l="0" t="0" r="r" b="b"/>
                  <a:pathLst>
                    <a:path w="97" h="41">
                      <a:moveTo>
                        <a:pt x="97" y="0"/>
                      </a:moveTo>
                      <a:lnTo>
                        <a:pt x="69" y="41"/>
                      </a:lnTo>
                      <a:lnTo>
                        <a:pt x="33" y="41"/>
                      </a:lnTo>
                      <a:lnTo>
                        <a:pt x="0" y="0"/>
                      </a:ln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24">
                  <a:extLst>
                    <a:ext uri="{FF2B5EF4-FFF2-40B4-BE49-F238E27FC236}">
                      <a16:creationId xmlns:a16="http://schemas.microsoft.com/office/drawing/2014/main" id="{114D3DEC-ED10-4AEB-A8C3-CFA43AA2F403}"/>
                    </a:ext>
                  </a:extLst>
                </p:cNvPr>
                <p:cNvSpPr>
                  <a:spLocks/>
                </p:cNvSpPr>
                <p:nvPr/>
              </p:nvSpPr>
              <p:spPr bwMode="auto">
                <a:xfrm>
                  <a:off x="2987" y="2770"/>
                  <a:ext cx="97" cy="41"/>
                </a:xfrm>
                <a:custGeom>
                  <a:avLst/>
                  <a:gdLst>
                    <a:gd name="T0" fmla="*/ 97 w 97"/>
                    <a:gd name="T1" fmla="*/ 0 h 41"/>
                    <a:gd name="T2" fmla="*/ 69 w 97"/>
                    <a:gd name="T3" fmla="*/ 41 h 41"/>
                    <a:gd name="T4" fmla="*/ 33 w 97"/>
                    <a:gd name="T5" fmla="*/ 41 h 41"/>
                    <a:gd name="T6" fmla="*/ 0 w 97"/>
                    <a:gd name="T7" fmla="*/ 0 h 41"/>
                  </a:gdLst>
                  <a:ahLst/>
                  <a:cxnLst>
                    <a:cxn ang="0">
                      <a:pos x="T0" y="T1"/>
                    </a:cxn>
                    <a:cxn ang="0">
                      <a:pos x="T2" y="T3"/>
                    </a:cxn>
                    <a:cxn ang="0">
                      <a:pos x="T4" y="T5"/>
                    </a:cxn>
                    <a:cxn ang="0">
                      <a:pos x="T6" y="T7"/>
                    </a:cxn>
                  </a:cxnLst>
                  <a:rect l="0" t="0" r="r" b="b"/>
                  <a:pathLst>
                    <a:path w="97" h="41">
                      <a:moveTo>
                        <a:pt x="97" y="0"/>
                      </a:moveTo>
                      <a:lnTo>
                        <a:pt x="69" y="41"/>
                      </a:lnTo>
                      <a:lnTo>
                        <a:pt x="33" y="41"/>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41" name="Rectangle 22">
                <a:extLst>
                  <a:ext uri="{FF2B5EF4-FFF2-40B4-BE49-F238E27FC236}">
                    <a16:creationId xmlns:a16="http://schemas.microsoft.com/office/drawing/2014/main" id="{4C169884-110A-4239-95D7-CAE0B79E6886}"/>
                  </a:ext>
                </a:extLst>
              </p:cNvPr>
              <p:cNvSpPr>
                <a:spLocks noChangeArrowheads="1"/>
              </p:cNvSpPr>
              <p:nvPr/>
            </p:nvSpPr>
            <p:spPr bwMode="auto">
              <a:xfrm>
                <a:off x="4729973" y="4136227"/>
                <a:ext cx="183352" cy="18288"/>
              </a:xfrm>
              <a:prstGeom prst="rect">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59DA53ED-24F8-4487-BA4D-A98F00E19E14}"/>
                </a:ext>
              </a:extLst>
            </p:cNvPr>
            <p:cNvGrpSpPr/>
            <p:nvPr/>
          </p:nvGrpSpPr>
          <p:grpSpPr>
            <a:xfrm>
              <a:off x="2435988" y="3134405"/>
              <a:ext cx="592799" cy="316523"/>
              <a:chOff x="4134971" y="2887860"/>
              <a:chExt cx="793376" cy="423623"/>
            </a:xfrm>
            <a:grpFill/>
          </p:grpSpPr>
          <p:sp>
            <p:nvSpPr>
              <p:cNvPr id="34" name="Freeform 5">
                <a:extLst>
                  <a:ext uri="{FF2B5EF4-FFF2-40B4-BE49-F238E27FC236}">
                    <a16:creationId xmlns:a16="http://schemas.microsoft.com/office/drawing/2014/main" id="{EF173738-C293-4F09-AEE7-5B74976376D7}"/>
                  </a:ext>
                </a:extLst>
              </p:cNvPr>
              <p:cNvSpPr>
                <a:spLocks/>
              </p:cNvSpPr>
              <p:nvPr/>
            </p:nvSpPr>
            <p:spPr bwMode="auto">
              <a:xfrm>
                <a:off x="4245536" y="2989746"/>
                <a:ext cx="682811" cy="243546"/>
              </a:xfrm>
              <a:custGeom>
                <a:avLst/>
                <a:gdLst>
                  <a:gd name="T0" fmla="*/ 477 w 964"/>
                  <a:gd name="T1" fmla="*/ 315 h 342"/>
                  <a:gd name="T2" fmla="*/ 490 w 964"/>
                  <a:gd name="T3" fmla="*/ 314 h 342"/>
                  <a:gd name="T4" fmla="*/ 681 w 964"/>
                  <a:gd name="T5" fmla="*/ 313 h 342"/>
                  <a:gd name="T6" fmla="*/ 790 w 964"/>
                  <a:gd name="T7" fmla="*/ 275 h 342"/>
                  <a:gd name="T8" fmla="*/ 928 w 964"/>
                  <a:gd name="T9" fmla="*/ 161 h 342"/>
                  <a:gd name="T10" fmla="*/ 961 w 964"/>
                  <a:gd name="T11" fmla="*/ 111 h 342"/>
                  <a:gd name="T12" fmla="*/ 950 w 964"/>
                  <a:gd name="T13" fmla="*/ 62 h 342"/>
                  <a:gd name="T14" fmla="*/ 875 w 964"/>
                  <a:gd name="T15" fmla="*/ 54 h 342"/>
                  <a:gd name="T16" fmla="*/ 827 w 964"/>
                  <a:gd name="T17" fmla="*/ 95 h 342"/>
                  <a:gd name="T18" fmla="*/ 763 w 964"/>
                  <a:gd name="T19" fmla="*/ 150 h 342"/>
                  <a:gd name="T20" fmla="*/ 626 w 964"/>
                  <a:gd name="T21" fmla="*/ 190 h 342"/>
                  <a:gd name="T22" fmla="*/ 532 w 964"/>
                  <a:gd name="T23" fmla="*/ 177 h 342"/>
                  <a:gd name="T24" fmla="*/ 476 w 964"/>
                  <a:gd name="T25" fmla="*/ 159 h 342"/>
                  <a:gd name="T26" fmla="*/ 473 w 964"/>
                  <a:gd name="T27" fmla="*/ 143 h 342"/>
                  <a:gd name="T28" fmla="*/ 481 w 964"/>
                  <a:gd name="T29" fmla="*/ 140 h 342"/>
                  <a:gd name="T30" fmla="*/ 557 w 964"/>
                  <a:gd name="T31" fmla="*/ 148 h 342"/>
                  <a:gd name="T32" fmla="*/ 652 w 964"/>
                  <a:gd name="T33" fmla="*/ 155 h 342"/>
                  <a:gd name="T34" fmla="*/ 710 w 964"/>
                  <a:gd name="T35" fmla="*/ 109 h 342"/>
                  <a:gd name="T36" fmla="*/ 681 w 964"/>
                  <a:gd name="T37" fmla="*/ 49 h 342"/>
                  <a:gd name="T38" fmla="*/ 616 w 964"/>
                  <a:gd name="T39" fmla="*/ 35 h 342"/>
                  <a:gd name="T40" fmla="*/ 298 w 964"/>
                  <a:gd name="T41" fmla="*/ 2 h 342"/>
                  <a:gd name="T42" fmla="*/ 232 w 964"/>
                  <a:gd name="T43" fmla="*/ 11 h 342"/>
                  <a:gd name="T44" fmla="*/ 160 w 964"/>
                  <a:gd name="T45" fmla="*/ 51 h 342"/>
                  <a:gd name="T46" fmla="*/ 4 w 964"/>
                  <a:gd name="T47" fmla="*/ 141 h 342"/>
                  <a:gd name="T48" fmla="*/ 2 w 964"/>
                  <a:gd name="T49" fmla="*/ 150 h 342"/>
                  <a:gd name="T50" fmla="*/ 23 w 964"/>
                  <a:gd name="T51" fmla="*/ 189 h 342"/>
                  <a:gd name="T52" fmla="*/ 148 w 964"/>
                  <a:gd name="T53" fmla="*/ 339 h 342"/>
                  <a:gd name="T54" fmla="*/ 157 w 964"/>
                  <a:gd name="T55" fmla="*/ 341 h 342"/>
                  <a:gd name="T56" fmla="*/ 184 w 964"/>
                  <a:gd name="T57" fmla="*/ 330 h 342"/>
                  <a:gd name="T58" fmla="*/ 289 w 964"/>
                  <a:gd name="T59" fmla="*/ 311 h 342"/>
                  <a:gd name="T60" fmla="*/ 477 w 964"/>
                  <a:gd name="T61" fmla="*/ 315 h 342"/>
                  <a:gd name="T62" fmla="*/ 477 w 964"/>
                  <a:gd name="T63" fmla="*/ 31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4" h="342">
                    <a:moveTo>
                      <a:pt x="477" y="315"/>
                    </a:moveTo>
                    <a:cubicBezTo>
                      <a:pt x="490" y="314"/>
                      <a:pt x="490" y="314"/>
                      <a:pt x="490" y="314"/>
                    </a:cubicBezTo>
                    <a:cubicBezTo>
                      <a:pt x="554" y="314"/>
                      <a:pt x="618" y="314"/>
                      <a:pt x="681" y="313"/>
                    </a:cubicBezTo>
                    <a:cubicBezTo>
                      <a:pt x="722" y="313"/>
                      <a:pt x="759" y="302"/>
                      <a:pt x="790" y="275"/>
                    </a:cubicBezTo>
                    <a:cubicBezTo>
                      <a:pt x="836" y="237"/>
                      <a:pt x="882" y="199"/>
                      <a:pt x="928" y="161"/>
                    </a:cubicBezTo>
                    <a:cubicBezTo>
                      <a:pt x="944" y="147"/>
                      <a:pt x="957" y="132"/>
                      <a:pt x="961" y="111"/>
                    </a:cubicBezTo>
                    <a:cubicBezTo>
                      <a:pt x="964" y="93"/>
                      <a:pt x="963" y="76"/>
                      <a:pt x="950" y="62"/>
                    </a:cubicBezTo>
                    <a:cubicBezTo>
                      <a:pt x="933" y="44"/>
                      <a:pt x="899" y="39"/>
                      <a:pt x="875" y="54"/>
                    </a:cubicBezTo>
                    <a:cubicBezTo>
                      <a:pt x="858" y="66"/>
                      <a:pt x="843" y="81"/>
                      <a:pt x="827" y="95"/>
                    </a:cubicBezTo>
                    <a:cubicBezTo>
                      <a:pt x="805" y="113"/>
                      <a:pt x="785" y="134"/>
                      <a:pt x="763" y="150"/>
                    </a:cubicBezTo>
                    <a:cubicBezTo>
                      <a:pt x="722" y="180"/>
                      <a:pt x="676" y="195"/>
                      <a:pt x="626" y="190"/>
                    </a:cubicBezTo>
                    <a:cubicBezTo>
                      <a:pt x="594" y="188"/>
                      <a:pt x="563" y="183"/>
                      <a:pt x="532" y="177"/>
                    </a:cubicBezTo>
                    <a:cubicBezTo>
                      <a:pt x="513" y="173"/>
                      <a:pt x="494" y="166"/>
                      <a:pt x="476" y="159"/>
                    </a:cubicBezTo>
                    <a:cubicBezTo>
                      <a:pt x="468" y="156"/>
                      <a:pt x="474" y="149"/>
                      <a:pt x="473" y="143"/>
                    </a:cubicBezTo>
                    <a:cubicBezTo>
                      <a:pt x="473" y="142"/>
                      <a:pt x="478" y="140"/>
                      <a:pt x="481" y="140"/>
                    </a:cubicBezTo>
                    <a:cubicBezTo>
                      <a:pt x="506" y="143"/>
                      <a:pt x="532" y="146"/>
                      <a:pt x="557" y="148"/>
                    </a:cubicBezTo>
                    <a:cubicBezTo>
                      <a:pt x="589" y="151"/>
                      <a:pt x="621" y="155"/>
                      <a:pt x="652" y="155"/>
                    </a:cubicBezTo>
                    <a:cubicBezTo>
                      <a:pt x="680" y="156"/>
                      <a:pt x="703" y="136"/>
                      <a:pt x="710" y="109"/>
                    </a:cubicBezTo>
                    <a:cubicBezTo>
                      <a:pt x="717" y="82"/>
                      <a:pt x="707" y="58"/>
                      <a:pt x="681" y="49"/>
                    </a:cubicBezTo>
                    <a:cubicBezTo>
                      <a:pt x="660" y="41"/>
                      <a:pt x="638" y="37"/>
                      <a:pt x="616" y="35"/>
                    </a:cubicBezTo>
                    <a:cubicBezTo>
                      <a:pt x="510" y="23"/>
                      <a:pt x="404" y="13"/>
                      <a:pt x="298" y="2"/>
                    </a:cubicBezTo>
                    <a:cubicBezTo>
                      <a:pt x="275" y="0"/>
                      <a:pt x="253" y="0"/>
                      <a:pt x="232" y="11"/>
                    </a:cubicBezTo>
                    <a:cubicBezTo>
                      <a:pt x="208" y="24"/>
                      <a:pt x="184" y="37"/>
                      <a:pt x="160" y="51"/>
                    </a:cubicBezTo>
                    <a:cubicBezTo>
                      <a:pt x="108" y="81"/>
                      <a:pt x="56" y="111"/>
                      <a:pt x="4" y="141"/>
                    </a:cubicBezTo>
                    <a:cubicBezTo>
                      <a:pt x="0" y="144"/>
                      <a:pt x="0" y="146"/>
                      <a:pt x="2" y="150"/>
                    </a:cubicBezTo>
                    <a:cubicBezTo>
                      <a:pt x="9" y="163"/>
                      <a:pt x="16" y="176"/>
                      <a:pt x="23" y="189"/>
                    </a:cubicBezTo>
                    <a:cubicBezTo>
                      <a:pt x="57" y="246"/>
                      <a:pt x="99" y="296"/>
                      <a:pt x="148" y="339"/>
                    </a:cubicBezTo>
                    <a:cubicBezTo>
                      <a:pt x="150" y="341"/>
                      <a:pt x="154" y="342"/>
                      <a:pt x="157" y="341"/>
                    </a:cubicBezTo>
                    <a:cubicBezTo>
                      <a:pt x="166" y="338"/>
                      <a:pt x="175" y="333"/>
                      <a:pt x="184" y="330"/>
                    </a:cubicBezTo>
                    <a:cubicBezTo>
                      <a:pt x="218" y="317"/>
                      <a:pt x="253" y="311"/>
                      <a:pt x="289" y="311"/>
                    </a:cubicBezTo>
                    <a:cubicBezTo>
                      <a:pt x="352" y="312"/>
                      <a:pt x="414" y="314"/>
                      <a:pt x="477" y="315"/>
                    </a:cubicBezTo>
                    <a:cubicBezTo>
                      <a:pt x="477" y="315"/>
                      <a:pt x="477" y="314"/>
                      <a:pt x="477" y="314"/>
                    </a:cubicBezTo>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AutoShape 68">
                <a:extLst>
                  <a:ext uri="{FF2B5EF4-FFF2-40B4-BE49-F238E27FC236}">
                    <a16:creationId xmlns:a16="http://schemas.microsoft.com/office/drawing/2014/main" id="{8D28CFD0-C1C6-483D-8782-00AD51CDD5D7}"/>
                  </a:ext>
                </a:extLst>
              </p:cNvPr>
              <p:cNvSpPr>
                <a:spLocks noChangeAspect="1" noChangeArrowheads="1" noTextEdit="1"/>
              </p:cNvSpPr>
              <p:nvPr/>
            </p:nvSpPr>
            <p:spPr bwMode="auto">
              <a:xfrm>
                <a:off x="4192172" y="2887860"/>
                <a:ext cx="3921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2BA6D050-EFEF-422B-9748-D545E5D53687}"/>
                  </a:ext>
                </a:extLst>
              </p:cNvPr>
              <p:cNvGrpSpPr/>
              <p:nvPr/>
            </p:nvGrpSpPr>
            <p:grpSpPr>
              <a:xfrm rot="20706135">
                <a:off x="4134971" y="3025972"/>
                <a:ext cx="203532" cy="285511"/>
                <a:chOff x="4190585" y="3025973"/>
                <a:chExt cx="114300" cy="160338"/>
              </a:xfrm>
              <a:grpFill/>
            </p:grpSpPr>
            <p:sp>
              <p:nvSpPr>
                <p:cNvPr id="37" name="Freeform 75">
                  <a:extLst>
                    <a:ext uri="{FF2B5EF4-FFF2-40B4-BE49-F238E27FC236}">
                      <a16:creationId xmlns:a16="http://schemas.microsoft.com/office/drawing/2014/main" id="{75B24814-FB24-49FA-9D65-515914FBC4B9}"/>
                    </a:ext>
                  </a:extLst>
                </p:cNvPr>
                <p:cNvSpPr>
                  <a:spLocks/>
                </p:cNvSpPr>
                <p:nvPr/>
              </p:nvSpPr>
              <p:spPr bwMode="auto">
                <a:xfrm>
                  <a:off x="4190585" y="3025973"/>
                  <a:ext cx="114300" cy="160338"/>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Oval 76">
                  <a:extLst>
                    <a:ext uri="{FF2B5EF4-FFF2-40B4-BE49-F238E27FC236}">
                      <a16:creationId xmlns:a16="http://schemas.microsoft.com/office/drawing/2014/main" id="{C4587DE1-31C1-4AB9-9F27-B34B9AAA8D21}"/>
                    </a:ext>
                  </a:extLst>
                </p:cNvPr>
                <p:cNvSpPr>
                  <a:spLocks noChangeArrowheads="1"/>
                </p:cNvSpPr>
                <p:nvPr/>
              </p:nvSpPr>
              <p:spPr bwMode="auto">
                <a:xfrm>
                  <a:off x="4257259" y="3143448"/>
                  <a:ext cx="22225"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
        <p:nvSpPr>
          <p:cNvPr id="26" name="Rectangle 25">
            <a:extLst>
              <a:ext uri="{FF2B5EF4-FFF2-40B4-BE49-F238E27FC236}">
                <a16:creationId xmlns:a16="http://schemas.microsoft.com/office/drawing/2014/main" id="{68ABE1D2-79DF-4CF1-98C6-49994B3E91F1}"/>
              </a:ext>
            </a:extLst>
          </p:cNvPr>
          <p:cNvSpPr/>
          <p:nvPr/>
        </p:nvSpPr>
        <p:spPr>
          <a:xfrm>
            <a:off x="562610" y="3842740"/>
            <a:ext cx="334806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Optimize costs and migrate with confidence </a:t>
            </a: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Semibold"/>
              <a:ea typeface="+mn-ea"/>
              <a:cs typeface="+mn-cs"/>
            </a:endParaRPr>
          </a:p>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 </a:t>
            </a:r>
          </a:p>
        </p:txBody>
      </p:sp>
      <p:sp>
        <p:nvSpPr>
          <p:cNvPr id="95" name="Title 94">
            <a:extLst>
              <a:ext uri="{FF2B5EF4-FFF2-40B4-BE49-F238E27FC236}">
                <a16:creationId xmlns:a16="http://schemas.microsoft.com/office/drawing/2014/main" id="{F817441D-0709-487D-AB65-44FBD95004E7}"/>
              </a:ext>
            </a:extLst>
          </p:cNvPr>
          <p:cNvSpPr txBox="1">
            <a:spLocks noGrp="1"/>
          </p:cNvSpPr>
          <p:nvPr>
            <p:ph type="title" idx="4294967295"/>
          </p:nvPr>
        </p:nvSpPr>
        <p:spPr>
          <a:xfrm>
            <a:off x="2924043" y="753637"/>
            <a:ext cx="6030006" cy="749950"/>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3874" rtl="0" eaLnBrk="1" fontAlgn="base"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50E6FF"/>
                </a:solidFill>
                <a:effectLst/>
                <a:uLnTx/>
                <a:uFillTx/>
                <a:latin typeface="Segoe UI Semibold" panose="020B0702040204020203" pitchFamily="34" charset="0"/>
                <a:ea typeface="+mn-ea"/>
                <a:cs typeface="Segoe UI Semibold" panose="020B0702040204020203" pitchFamily="34" charset="0"/>
              </a:rPr>
              <a:t>Migrate to Azure efficiently on your own terms</a:t>
            </a:r>
          </a:p>
        </p:txBody>
      </p:sp>
      <p:pic>
        <p:nvPicPr>
          <p:cNvPr id="108" name="Picture 107" descr="A graph going down with a Dollar sign">
            <a:extLst>
              <a:ext uri="{FF2B5EF4-FFF2-40B4-BE49-F238E27FC236}">
                <a16:creationId xmlns:a16="http://schemas.microsoft.com/office/drawing/2014/main" id="{134105EA-B570-40E3-A84F-6EF0586C0969}"/>
              </a:ext>
              <a:ext uri="{C183D7F6-B498-43B3-948B-1728B52AA6E4}">
                <adec:decorative xmlns:adec="http://schemas.microsoft.com/office/drawing/2017/decorative" xmlns="" val="0"/>
              </a:ext>
            </a:extLst>
          </p:cNvPr>
          <p:cNvPicPr>
            <a:picLocks noChangeAspect="1"/>
          </p:cNvPicPr>
          <p:nvPr/>
        </p:nvPicPr>
        <p:blipFill>
          <a:blip r:embed="rId3"/>
          <a:stretch>
            <a:fillRect/>
          </a:stretch>
        </p:blipFill>
        <p:spPr>
          <a:xfrm>
            <a:off x="1828535" y="2658097"/>
            <a:ext cx="816218" cy="933483"/>
          </a:xfrm>
          <a:prstGeom prst="rect">
            <a:avLst/>
          </a:prstGeom>
          <a:solidFill>
            <a:schemeClr val="tx2"/>
          </a:solidFill>
        </p:spPr>
      </p:pic>
      <p:pic>
        <p:nvPicPr>
          <p:cNvPr id="109" name="Picture 108" descr="A shield lock">
            <a:extLst>
              <a:ext uri="{FF2B5EF4-FFF2-40B4-BE49-F238E27FC236}">
                <a16:creationId xmlns:a16="http://schemas.microsoft.com/office/drawing/2014/main" id="{390E9D03-DCD3-4FB0-8289-4E8FB776AFAD}"/>
              </a:ext>
            </a:extLst>
          </p:cNvPr>
          <p:cNvPicPr>
            <a:picLocks noChangeAspect="1"/>
          </p:cNvPicPr>
          <p:nvPr/>
        </p:nvPicPr>
        <p:blipFill>
          <a:blip r:embed="rId4"/>
          <a:stretch>
            <a:fillRect/>
          </a:stretch>
        </p:blipFill>
        <p:spPr>
          <a:xfrm>
            <a:off x="5541807" y="2550704"/>
            <a:ext cx="1094734" cy="1094734"/>
          </a:xfrm>
          <a:prstGeom prst="rect">
            <a:avLst/>
          </a:prstGeom>
          <a:solidFill>
            <a:schemeClr val="tx2"/>
          </a:solidFill>
        </p:spPr>
      </p:pic>
      <p:sp>
        <p:nvSpPr>
          <p:cNvPr id="110" name="Rectangle 109">
            <a:extLst>
              <a:ext uri="{FF2B5EF4-FFF2-40B4-BE49-F238E27FC236}">
                <a16:creationId xmlns:a16="http://schemas.microsoft.com/office/drawing/2014/main" id="{8F268769-42A1-4115-8D63-3647918AB324}"/>
              </a:ext>
            </a:extLst>
          </p:cNvPr>
          <p:cNvSpPr/>
          <p:nvPr/>
        </p:nvSpPr>
        <p:spPr>
          <a:xfrm>
            <a:off x="4415140" y="3841868"/>
            <a:ext cx="3465139" cy="840148"/>
          </a:xfrm>
          <a:prstGeom prst="rect">
            <a:avLst/>
          </a:prstGeom>
        </p:spPr>
        <p:txBody>
          <a:bodyPr wrap="square" anchor="t">
            <a:noAutofit/>
          </a:bodyPr>
          <a:lstStyle/>
          <a:p>
            <a:pPr marL="0" marR="0" lvl="0" indent="0" algn="ctr" defTabSz="914016"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Stay secure and resilient across hybrid environments</a:t>
            </a:r>
          </a:p>
        </p:txBody>
      </p:sp>
    </p:spTree>
    <p:extLst>
      <p:ext uri="{BB962C8B-B14F-4D97-AF65-F5344CB8AC3E}">
        <p14:creationId xmlns:p14="http://schemas.microsoft.com/office/powerpoint/2010/main" val="64472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Optimize costs during and after migration </a:t>
            </a:r>
          </a:p>
        </p:txBody>
      </p:sp>
      <p:sp>
        <p:nvSpPr>
          <p:cNvPr id="52" name="Rectangle 51">
            <a:extLst>
              <a:ext uri="{FF2B5EF4-FFF2-40B4-BE49-F238E27FC236}">
                <a16:creationId xmlns:a16="http://schemas.microsoft.com/office/drawing/2014/main" id="{D03BAF4D-174F-4FBA-9299-31A0420918D9}"/>
              </a:ext>
            </a:extLst>
          </p:cNvPr>
          <p:cNvSpPr/>
          <p:nvPr/>
        </p:nvSpPr>
        <p:spPr>
          <a:xfrm>
            <a:off x="580619" y="2542009"/>
            <a:ext cx="5260396" cy="3245213"/>
          </a:xfrm>
          <a:prstGeom prst="rect">
            <a:avLst/>
          </a:prstGeom>
        </p:spPr>
        <p:txBody>
          <a:bodyPr wrap="square" lIns="91440" tIns="44814" rIns="89630" bIns="44814">
            <a:sp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Model on-premises vs. Azure costs using the </a:t>
            </a:r>
            <a:r>
              <a:rPr kumimoji="0" lang="en-US" sz="2000" b="1" i="0" u="none" strike="noStrike" kern="1200" cap="none" spc="0" normalizeH="0" baseline="0" noProof="0">
                <a:ln>
                  <a:noFill/>
                </a:ln>
                <a:solidFill>
                  <a:prstClr val="white"/>
                </a:solidFill>
                <a:effectLst/>
                <a:uLnTx/>
                <a:uFillTx/>
                <a:latin typeface="Segoe UI"/>
                <a:ea typeface="+mn-ea"/>
                <a:cs typeface="Segoe UI" panose="020B0502040204020203" pitchFamily="34" charset="0"/>
              </a:rPr>
              <a:t>Azure TCO Calculator</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Right-size Azure resources based on assessment guidance from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e</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a:t>
            </a:r>
            <a:r>
              <a:rPr kumimoji="0" lang="en-US" sz="2000" b="1" i="0" u="none" strike="noStrike" kern="1200" cap="none" spc="0" normalizeH="0" baseline="0" noProof="0">
                <a:ln>
                  <a:noFill/>
                </a:ln>
                <a:solidFill>
                  <a:prstClr val="white"/>
                </a:solidFill>
                <a:effectLst/>
                <a:uLnTx/>
                <a:uFillTx/>
                <a:latin typeface="Segoe UI"/>
                <a:ea typeface="+mn-ea"/>
                <a:cs typeface="+mn-cs"/>
              </a:rPr>
              <a:t>Azure Hybrid Benefit </a:t>
            </a:r>
            <a:r>
              <a:rPr kumimoji="0" lang="en-US" sz="2000" b="0" i="0" u="none" strike="noStrike" kern="1200" cap="none" spc="0" normalizeH="0" baseline="0" noProof="0">
                <a:ln>
                  <a:noFill/>
                </a:ln>
                <a:solidFill>
                  <a:prstClr val="white"/>
                </a:solidFill>
                <a:effectLst/>
                <a:uLnTx/>
                <a:uFillTx/>
                <a:latin typeface="Segoe UI"/>
                <a:ea typeface="+mn-ea"/>
                <a:cs typeface="+mn-cs"/>
              </a:rPr>
              <a:t>&amp; </a:t>
            </a:r>
            <a:r>
              <a:rPr kumimoji="0" lang="en-US" sz="2000" b="1" i="0" u="none" strike="noStrike" kern="1200" cap="none" spc="0" normalizeH="0" baseline="0" noProof="0">
                <a:ln>
                  <a:noFill/>
                </a:ln>
                <a:solidFill>
                  <a:prstClr val="white"/>
                </a:solidFill>
                <a:effectLst/>
                <a:uLnTx/>
                <a:uFillTx/>
                <a:latin typeface="Segoe UI"/>
                <a:ea typeface="+mn-ea"/>
                <a:cs typeface="+mn-cs"/>
              </a:rPr>
              <a:t>Azure Reserved Instances </a:t>
            </a:r>
            <a:r>
              <a:rPr kumimoji="0" lang="en-US" sz="2000" b="0" i="0" u="none" strike="noStrike" kern="1200" cap="none" spc="0" normalizeH="0" baseline="0" noProof="0">
                <a:ln>
                  <a:noFill/>
                </a:ln>
                <a:solidFill>
                  <a:prstClr val="white"/>
                </a:solidFill>
                <a:effectLst/>
                <a:uLnTx/>
                <a:uFillTx/>
                <a:latin typeface="Segoe UI"/>
                <a:ea typeface="+mn-ea"/>
                <a:cs typeface="+mn-cs"/>
              </a:rPr>
              <a:t>to save money</a:t>
            </a:r>
          </a:p>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Join the </a:t>
            </a:r>
            <a:r>
              <a:rPr kumimoji="0" lang="en-US" sz="2000" b="1" i="0" u="none" strike="noStrike" kern="1200" cap="none" spc="0" normalizeH="0" baseline="0" noProof="0">
                <a:ln>
                  <a:noFill/>
                </a:ln>
                <a:solidFill>
                  <a:prstClr val="white"/>
                </a:solidFill>
                <a:effectLst/>
                <a:uLnTx/>
                <a:uFillTx/>
                <a:latin typeface="Segoe UI"/>
                <a:ea typeface="+mn-ea"/>
                <a:cs typeface="+mn-cs"/>
              </a:rPr>
              <a:t>Azure Migration Program</a:t>
            </a:r>
            <a:r>
              <a:rPr kumimoji="0" lang="en-US" sz="2000" b="0" i="0" u="none" strike="noStrike" kern="1200" cap="none" spc="0" normalizeH="0" baseline="0" noProof="0">
                <a:ln>
                  <a:noFill/>
                </a:ln>
                <a:solidFill>
                  <a:prstClr val="white"/>
                </a:solidFill>
                <a:effectLst/>
                <a:uLnTx/>
                <a:uFillTx/>
                <a:latin typeface="Segoe UI"/>
                <a:ea typeface="+mn-ea"/>
                <a:cs typeface="+mn-cs"/>
              </a:rPr>
              <a:t> to save on migration costs </a:t>
            </a:r>
            <a:endParaRPr kumimoji="0" lang="en-US" sz="200" b="0" i="0" u="none" strike="noStrike" kern="120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56" name="Rectangle 55">
            <a:extLst>
              <a:ext uri="{FF2B5EF4-FFF2-40B4-BE49-F238E27FC236}">
                <a16:creationId xmlns:a16="http://schemas.microsoft.com/office/drawing/2014/main" id="{6CC1C75C-300A-4820-B787-BF520C07E539}"/>
              </a:ext>
            </a:extLst>
          </p:cNvPr>
          <p:cNvSpPr/>
          <p:nvPr/>
        </p:nvSpPr>
        <p:spPr>
          <a:xfrm>
            <a:off x="6395310" y="2519623"/>
            <a:ext cx="5260396" cy="2840617"/>
          </a:xfrm>
          <a:prstGeom prst="rect">
            <a:avLst/>
          </a:prstGeom>
        </p:spPr>
        <p:txBody>
          <a:bodyPr wrap="square" lIns="91440" tIns="44814" rIns="89630" bIns="44814">
            <a:noAutofit/>
          </a:bodyPr>
          <a:lstStyle/>
          <a:p>
            <a:pPr marL="285750" marR="0" lvl="2" indent="-285750" algn="l" defTabSz="932742" rtl="0" eaLnBrk="1" fontAlgn="auto" latinLnBrk="0" hangingPunct="1">
              <a:lnSpc>
                <a:spcPct val="10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Use best practice recommendations to save (e.g., shutdown idle resource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Advisor</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Implement cost controls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Policy </a:t>
            </a:r>
            <a:r>
              <a:rPr kumimoji="0" lang="en-US" sz="2000" b="0" i="0" u="none" strike="noStrike" kern="1200" cap="none" spc="0" normalizeH="0" baseline="0" noProof="0">
                <a:ln>
                  <a:noFill/>
                </a:ln>
                <a:solidFill>
                  <a:prstClr val="white"/>
                </a:solidFill>
                <a:effectLst/>
                <a:uLnTx/>
                <a:uFillTx/>
                <a:latin typeface="Segoe UI"/>
                <a:ea typeface="+mn-ea"/>
                <a:cs typeface="+mn-cs"/>
              </a:rPr>
              <a:t>so your teams can go fast </a:t>
            </a:r>
            <a:br>
              <a:rPr kumimoji="0" lang="en-US" sz="2000" b="0" i="0" u="none" strike="noStrike" kern="1200" cap="none" spc="0" normalizeH="0" baseline="0" noProof="0">
                <a:ln>
                  <a:noFill/>
                </a:ln>
                <a:solidFill>
                  <a:prstClr val="white"/>
                </a:solidFill>
                <a:effectLst/>
                <a:uLnTx/>
                <a:uFillTx/>
                <a:latin typeface="Segoe UI"/>
                <a:ea typeface="+mn-ea"/>
                <a:cs typeface="+mn-cs"/>
              </a:rPr>
            </a:br>
            <a:r>
              <a:rPr kumimoji="0" lang="en-US" sz="2000" b="0" i="0" u="none" strike="noStrike" kern="1200" cap="none" spc="0" normalizeH="0" baseline="0" noProof="0">
                <a:ln>
                  <a:noFill/>
                </a:ln>
                <a:solidFill>
                  <a:prstClr val="white"/>
                </a:solidFill>
                <a:effectLst/>
                <a:uLnTx/>
                <a:uFillTx/>
                <a:latin typeface="Segoe UI"/>
                <a:ea typeface="+mn-ea"/>
                <a:cs typeface="+mn-cs"/>
              </a:rPr>
              <a:t>with control</a:t>
            </a:r>
          </a:p>
          <a:p>
            <a:pPr marL="285750" marR="0" lvl="0" indent="-285750" algn="l" defTabSz="932742" rtl="0" eaLnBrk="1" fontAlgn="auto" latinLnBrk="0" hangingPunct="1">
              <a:lnSpc>
                <a:spcPct val="90000"/>
              </a:lnSpc>
              <a:spcBef>
                <a:spcPts val="1200"/>
              </a:spcBef>
              <a:spcAft>
                <a:spcPts val="600"/>
              </a:spcAft>
              <a:buClr>
                <a:srgbClr val="50E6FF"/>
              </a:buClr>
              <a:buSzPct val="50000"/>
              <a:buFont typeface="Wingdings" panose="05000000000000000000" pitchFamily="2" charset="2"/>
              <a:buChar char="u"/>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Monitor your bill, set budgets, &amp; allocate spending with </a:t>
            </a:r>
            <a:r>
              <a:rPr kumimoji="0" lang="en-US" sz="2000" b="1" i="0" u="none" strike="noStrike" kern="1200" cap="none" spc="0" normalizeH="0" baseline="0" noProof="0">
                <a:ln>
                  <a:noFill/>
                </a:ln>
                <a:solidFill>
                  <a:prstClr val="white"/>
                </a:solidFill>
                <a:effectLst/>
                <a:uLnTx/>
                <a:uFillTx/>
                <a:latin typeface="Segoe UI"/>
                <a:ea typeface="+mn-ea"/>
                <a:cs typeface="+mn-cs"/>
              </a:rPr>
              <a:t>Azure Cost Management</a:t>
            </a:r>
          </a:p>
        </p:txBody>
      </p:sp>
      <p:sp>
        <p:nvSpPr>
          <p:cNvPr id="61" name="Rectangle 60">
            <a:extLst>
              <a:ext uri="{FF2B5EF4-FFF2-40B4-BE49-F238E27FC236}">
                <a16:creationId xmlns:a16="http://schemas.microsoft.com/office/drawing/2014/main" id="{B13483E4-A7C2-4D9A-BCE8-B3E291585A9D}"/>
              </a:ext>
            </a:extLst>
          </p:cNvPr>
          <p:cNvSpPr/>
          <p:nvPr/>
        </p:nvSpPr>
        <p:spPr>
          <a:xfrm>
            <a:off x="7447483" y="1885820"/>
            <a:ext cx="2015197" cy="369332"/>
          </a:xfrm>
          <a:prstGeom prst="rect">
            <a:avLst/>
          </a:prstGeom>
        </p:spPr>
        <p:txBody>
          <a:bodyPr wrap="none" lIns="0" tIns="0" rIns="0" bIns="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Post migration</a:t>
            </a:r>
          </a:p>
        </p:txBody>
      </p:sp>
      <p:sp>
        <p:nvSpPr>
          <p:cNvPr id="62" name="Rectangle 90">
            <a:extLst>
              <a:ext uri="{FF2B5EF4-FFF2-40B4-BE49-F238E27FC236}">
                <a16:creationId xmlns:a16="http://schemas.microsoft.com/office/drawing/2014/main" id="{40E227C5-9CC6-4B29-8D70-53F04C2F6C3F}"/>
              </a:ext>
              <a:ext uri="{C183D7F6-B498-43B3-948B-1728B52AA6E4}">
                <adec:decorative xmlns:adec="http://schemas.microsoft.com/office/drawing/2017/decorative" xmlns="" val="1"/>
              </a:ext>
            </a:extLst>
          </p:cNvPr>
          <p:cNvSpPr/>
          <p:nvPr/>
        </p:nvSpPr>
        <p:spPr>
          <a:xfrm flipH="1">
            <a:off x="6388088" y="2461092"/>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63" name="TextBox 62">
            <a:extLst>
              <a:ext uri="{FF2B5EF4-FFF2-40B4-BE49-F238E27FC236}">
                <a16:creationId xmlns:a16="http://schemas.microsoft.com/office/drawing/2014/main" id="{9A6D5210-0047-4884-A21D-B217512D5F22}"/>
              </a:ext>
            </a:extLst>
          </p:cNvPr>
          <p:cNvSpPr txBox="1"/>
          <p:nvPr/>
        </p:nvSpPr>
        <p:spPr>
          <a:xfrm>
            <a:off x="1523058" y="1885820"/>
            <a:ext cx="2412520" cy="369332"/>
          </a:xfrm>
          <a:prstGeom prst="rect">
            <a:avLst/>
          </a:prstGeom>
          <a:noFill/>
        </p:spPr>
        <p:txBody>
          <a:bodyPr wrap="non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During migration</a:t>
            </a:r>
            <a:endParaRPr kumimoji="0" lang="en-IN" sz="24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64" name="Rectangle 90">
            <a:extLst>
              <a:ext uri="{FF2B5EF4-FFF2-40B4-BE49-F238E27FC236}">
                <a16:creationId xmlns:a16="http://schemas.microsoft.com/office/drawing/2014/main" id="{1CC1F1A2-DA83-4F7A-A20E-57730C913DA2}"/>
              </a:ext>
              <a:ext uri="{C183D7F6-B498-43B3-948B-1728B52AA6E4}">
                <adec:decorative xmlns:adec="http://schemas.microsoft.com/office/drawing/2017/decorative" xmlns="" val="1"/>
              </a:ext>
            </a:extLst>
          </p:cNvPr>
          <p:cNvSpPr/>
          <p:nvPr/>
        </p:nvSpPr>
        <p:spPr>
          <a:xfrm flipH="1" flipV="1">
            <a:off x="535452" y="2412379"/>
            <a:ext cx="5260396" cy="44813"/>
          </a:xfrm>
          <a:custGeom>
            <a:avLst/>
            <a:gdLst>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0 w 10018795"/>
              <a:gd name="connsiteY4" fmla="*/ 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4" fmla="*/ 91440 w 10018795"/>
              <a:gd name="connsiteY4" fmla="*/ 91440 h 4657086"/>
              <a:gd name="connsiteX0" fmla="*/ 0 w 10018795"/>
              <a:gd name="connsiteY0" fmla="*/ 0 h 4657086"/>
              <a:gd name="connsiteX1" fmla="*/ 10018795 w 10018795"/>
              <a:gd name="connsiteY1" fmla="*/ 0 h 4657086"/>
              <a:gd name="connsiteX2" fmla="*/ 10018795 w 10018795"/>
              <a:gd name="connsiteY2" fmla="*/ 4657086 h 4657086"/>
              <a:gd name="connsiteX3" fmla="*/ 0 w 10018795"/>
              <a:gd name="connsiteY3" fmla="*/ 4657086 h 4657086"/>
              <a:gd name="connsiteX0" fmla="*/ 0 w 10018795"/>
              <a:gd name="connsiteY0" fmla="*/ 0 h 4657086"/>
              <a:gd name="connsiteX1" fmla="*/ 10018795 w 10018795"/>
              <a:gd name="connsiteY1" fmla="*/ 0 h 4657086"/>
              <a:gd name="connsiteX2" fmla="*/ 10018795 w 10018795"/>
              <a:gd name="connsiteY2" fmla="*/ 4657086 h 4657086"/>
              <a:gd name="connsiteX0" fmla="*/ 0 w 10018795"/>
              <a:gd name="connsiteY0" fmla="*/ 0 h 0"/>
              <a:gd name="connsiteX1" fmla="*/ 10018795 w 10018795"/>
              <a:gd name="connsiteY1" fmla="*/ 0 h 0"/>
            </a:gdLst>
            <a:ahLst/>
            <a:cxnLst>
              <a:cxn ang="0">
                <a:pos x="connsiteX0" y="connsiteY0"/>
              </a:cxn>
              <a:cxn ang="0">
                <a:pos x="connsiteX1" y="connsiteY1"/>
              </a:cxn>
            </a:cxnLst>
            <a:rect l="l" t="t" r="r" b="b"/>
            <a:pathLst>
              <a:path w="10018795">
                <a:moveTo>
                  <a:pt x="0" y="0"/>
                </a:moveTo>
                <a:lnTo>
                  <a:pt x="10018795" y="0"/>
                </a:lnTo>
              </a:path>
            </a:pathLst>
          </a:custGeom>
          <a:noFill/>
          <a:ln w="6350">
            <a:solidFill>
              <a:schemeClr val="accent3"/>
            </a:solidFill>
            <a:round/>
            <a:headEnd type="diamond" w="lg" len="lg"/>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07" name="strong consistency" descr="strong consistency">
            <a:extLst>
              <a:ext uri="{FF2B5EF4-FFF2-40B4-BE49-F238E27FC236}">
                <a16:creationId xmlns:a16="http://schemas.microsoft.com/office/drawing/2014/main" id="{0ED8E1FF-8A75-44CB-B9C0-A4B776A6F0E7}"/>
              </a:ext>
            </a:extLst>
          </p:cNvPr>
          <p:cNvGrpSpPr>
            <a:grpSpLocks noChangeAspect="1"/>
          </p:cNvGrpSpPr>
          <p:nvPr/>
        </p:nvGrpSpPr>
        <p:grpSpPr bwMode="auto">
          <a:xfrm>
            <a:off x="771409" y="1808480"/>
            <a:ext cx="537806" cy="536156"/>
            <a:chOff x="3360" y="3030"/>
            <a:chExt cx="326" cy="325"/>
          </a:xfrm>
        </p:grpSpPr>
        <p:sp>
          <p:nvSpPr>
            <p:cNvPr id="108" name="AutoShape 167">
              <a:extLst>
                <a:ext uri="{FF2B5EF4-FFF2-40B4-BE49-F238E27FC236}">
                  <a16:creationId xmlns:a16="http://schemas.microsoft.com/office/drawing/2014/main" id="{CE2834BE-4758-4391-9661-085A15C518C0}"/>
                </a:ext>
              </a:extLst>
            </p:cNvPr>
            <p:cNvSpPr>
              <a:spLocks noChangeAspect="1" noChangeArrowheads="1" noTextEdit="1"/>
            </p:cNvSpPr>
            <p:nvPr/>
          </p:nvSpPr>
          <p:spPr bwMode="auto">
            <a:xfrm>
              <a:off x="3360" y="3030"/>
              <a:ext cx="3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169">
              <a:extLst>
                <a:ext uri="{FF2B5EF4-FFF2-40B4-BE49-F238E27FC236}">
                  <a16:creationId xmlns:a16="http://schemas.microsoft.com/office/drawing/2014/main" id="{60351B4E-BD4E-4FA8-A7D2-80F84B4E5C36}"/>
                </a:ext>
              </a:extLst>
            </p:cNvPr>
            <p:cNvSpPr>
              <a:spLocks/>
            </p:cNvSpPr>
            <p:nvPr/>
          </p:nvSpPr>
          <p:spPr bwMode="auto">
            <a:xfrm>
              <a:off x="3586" y="3082"/>
              <a:ext cx="100" cy="261"/>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170">
              <a:extLst>
                <a:ext uri="{FF2B5EF4-FFF2-40B4-BE49-F238E27FC236}">
                  <a16:creationId xmlns:a16="http://schemas.microsoft.com/office/drawing/2014/main" id="{92EEADAD-A4D0-46B3-B82E-2BF17124D55C}"/>
                </a:ext>
              </a:extLst>
            </p:cNvPr>
            <p:cNvSpPr>
              <a:spLocks/>
            </p:cNvSpPr>
            <p:nvPr/>
          </p:nvSpPr>
          <p:spPr bwMode="auto">
            <a:xfrm>
              <a:off x="3360" y="3228"/>
              <a:ext cx="205" cy="127"/>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171">
              <a:extLst>
                <a:ext uri="{FF2B5EF4-FFF2-40B4-BE49-F238E27FC236}">
                  <a16:creationId xmlns:a16="http://schemas.microsoft.com/office/drawing/2014/main" id="{1F1C2268-6E87-47FF-9B55-EA5BFFF60BAC}"/>
                </a:ext>
              </a:extLst>
            </p:cNvPr>
            <p:cNvSpPr>
              <a:spLocks/>
            </p:cNvSpPr>
            <p:nvPr/>
          </p:nvSpPr>
          <p:spPr bwMode="auto">
            <a:xfrm>
              <a:off x="3367" y="3032"/>
              <a:ext cx="243" cy="161"/>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172">
              <a:extLst>
                <a:ext uri="{FF2B5EF4-FFF2-40B4-BE49-F238E27FC236}">
                  <a16:creationId xmlns:a16="http://schemas.microsoft.com/office/drawing/2014/main" id="{B6E4070F-0388-4497-9586-CD2ADB688355}"/>
                </a:ext>
              </a:extLst>
            </p:cNvPr>
            <p:cNvSpPr>
              <a:spLocks noEditPoints="1"/>
            </p:cNvSpPr>
            <p:nvPr/>
          </p:nvSpPr>
          <p:spPr bwMode="auto">
            <a:xfrm>
              <a:off x="3410" y="3078"/>
              <a:ext cx="231" cy="231"/>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3" name="connect modularity 3" descr="connect modularity">
            <a:extLst>
              <a:ext uri="{FF2B5EF4-FFF2-40B4-BE49-F238E27FC236}">
                <a16:creationId xmlns:a16="http://schemas.microsoft.com/office/drawing/2014/main" id="{3E14ADE4-28AA-4149-83AF-CB68C87BB829}"/>
              </a:ext>
            </a:extLst>
          </p:cNvPr>
          <p:cNvGrpSpPr/>
          <p:nvPr/>
        </p:nvGrpSpPr>
        <p:grpSpPr>
          <a:xfrm>
            <a:off x="6620085" y="1726570"/>
            <a:ext cx="620244" cy="618066"/>
            <a:chOff x="6313882" y="4847259"/>
            <a:chExt cx="443543" cy="441987"/>
          </a:xfrm>
        </p:grpSpPr>
        <p:sp>
          <p:nvSpPr>
            <p:cNvPr id="114" name="Freeform 964">
              <a:extLst>
                <a:ext uri="{FF2B5EF4-FFF2-40B4-BE49-F238E27FC236}">
                  <a16:creationId xmlns:a16="http://schemas.microsoft.com/office/drawing/2014/main" id="{E6FDB76E-E6CA-434D-9640-4ECC16F13A5A}"/>
                </a:ext>
              </a:extLst>
            </p:cNvPr>
            <p:cNvSpPr>
              <a:spLocks/>
            </p:cNvSpPr>
            <p:nvPr/>
          </p:nvSpPr>
          <p:spPr bwMode="auto">
            <a:xfrm>
              <a:off x="6313882" y="4847259"/>
              <a:ext cx="443543" cy="441987"/>
            </a:xfrm>
            <a:custGeom>
              <a:avLst/>
              <a:gdLst>
                <a:gd name="T0" fmla="*/ 384 w 384"/>
                <a:gd name="T1" fmla="*/ 212 h 384"/>
                <a:gd name="T2" fmla="*/ 384 w 384"/>
                <a:gd name="T3" fmla="*/ 172 h 384"/>
                <a:gd name="T4" fmla="*/ 342 w 384"/>
                <a:gd name="T5" fmla="*/ 172 h 384"/>
                <a:gd name="T6" fmla="*/ 313 w 384"/>
                <a:gd name="T7" fmla="*/ 100 h 384"/>
                <a:gd name="T8" fmla="*/ 342 w 384"/>
                <a:gd name="T9" fmla="*/ 71 h 384"/>
                <a:gd name="T10" fmla="*/ 313 w 384"/>
                <a:gd name="T11" fmla="*/ 42 h 384"/>
                <a:gd name="T12" fmla="*/ 284 w 384"/>
                <a:gd name="T13" fmla="*/ 71 h 384"/>
                <a:gd name="T14" fmla="*/ 212 w 384"/>
                <a:gd name="T15" fmla="*/ 42 h 384"/>
                <a:gd name="T16" fmla="*/ 212 w 384"/>
                <a:gd name="T17" fmla="*/ 0 h 384"/>
                <a:gd name="T18" fmla="*/ 172 w 384"/>
                <a:gd name="T19" fmla="*/ 0 h 384"/>
                <a:gd name="T20" fmla="*/ 172 w 384"/>
                <a:gd name="T21" fmla="*/ 42 h 384"/>
                <a:gd name="T22" fmla="*/ 100 w 384"/>
                <a:gd name="T23" fmla="*/ 71 h 384"/>
                <a:gd name="T24" fmla="*/ 71 w 384"/>
                <a:gd name="T25" fmla="*/ 42 h 384"/>
                <a:gd name="T26" fmla="*/ 42 w 384"/>
                <a:gd name="T27" fmla="*/ 71 h 384"/>
                <a:gd name="T28" fmla="*/ 71 w 384"/>
                <a:gd name="T29" fmla="*/ 100 h 384"/>
                <a:gd name="T30" fmla="*/ 42 w 384"/>
                <a:gd name="T31" fmla="*/ 172 h 384"/>
                <a:gd name="T32" fmla="*/ 0 w 384"/>
                <a:gd name="T33" fmla="*/ 172 h 384"/>
                <a:gd name="T34" fmla="*/ 0 w 384"/>
                <a:gd name="T35" fmla="*/ 212 h 384"/>
                <a:gd name="T36" fmla="*/ 42 w 384"/>
                <a:gd name="T37" fmla="*/ 212 h 384"/>
                <a:gd name="T38" fmla="*/ 85 w 384"/>
                <a:gd name="T39" fmla="*/ 299 h 384"/>
                <a:gd name="T40" fmla="*/ 172 w 384"/>
                <a:gd name="T41" fmla="*/ 342 h 384"/>
                <a:gd name="T42" fmla="*/ 172 w 384"/>
                <a:gd name="T43" fmla="*/ 384 h 384"/>
                <a:gd name="T44" fmla="*/ 212 w 384"/>
                <a:gd name="T45" fmla="*/ 384 h 384"/>
                <a:gd name="T46" fmla="*/ 212 w 384"/>
                <a:gd name="T47" fmla="*/ 342 h 384"/>
                <a:gd name="T48" fmla="*/ 284 w 384"/>
                <a:gd name="T49" fmla="*/ 313 h 384"/>
                <a:gd name="T50" fmla="*/ 313 w 384"/>
                <a:gd name="T51" fmla="*/ 342 h 384"/>
                <a:gd name="T52" fmla="*/ 342 w 384"/>
                <a:gd name="T53" fmla="*/ 313 h 384"/>
                <a:gd name="T54" fmla="*/ 313 w 384"/>
                <a:gd name="T55" fmla="*/ 284 h 384"/>
                <a:gd name="T56" fmla="*/ 342 w 384"/>
                <a:gd name="T57" fmla="*/ 212 h 384"/>
                <a:gd name="T58" fmla="*/ 384 w 384"/>
                <a:gd name="T59" fmla="*/ 2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384" y="212"/>
                  </a:moveTo>
                  <a:cubicBezTo>
                    <a:pt x="384" y="172"/>
                    <a:pt x="384" y="172"/>
                    <a:pt x="384" y="172"/>
                  </a:cubicBezTo>
                  <a:cubicBezTo>
                    <a:pt x="342" y="172"/>
                    <a:pt x="342" y="172"/>
                    <a:pt x="342" y="172"/>
                  </a:cubicBezTo>
                  <a:cubicBezTo>
                    <a:pt x="339" y="146"/>
                    <a:pt x="329" y="121"/>
                    <a:pt x="313" y="100"/>
                  </a:cubicBezTo>
                  <a:cubicBezTo>
                    <a:pt x="342" y="71"/>
                    <a:pt x="342" y="71"/>
                    <a:pt x="342" y="71"/>
                  </a:cubicBezTo>
                  <a:cubicBezTo>
                    <a:pt x="313" y="42"/>
                    <a:pt x="313" y="42"/>
                    <a:pt x="313" y="42"/>
                  </a:cubicBezTo>
                  <a:cubicBezTo>
                    <a:pt x="284" y="71"/>
                    <a:pt x="284" y="71"/>
                    <a:pt x="284" y="71"/>
                  </a:cubicBezTo>
                  <a:cubicBezTo>
                    <a:pt x="263" y="55"/>
                    <a:pt x="238" y="45"/>
                    <a:pt x="212" y="42"/>
                  </a:cubicBezTo>
                  <a:cubicBezTo>
                    <a:pt x="212" y="0"/>
                    <a:pt x="212" y="0"/>
                    <a:pt x="212" y="0"/>
                  </a:cubicBezTo>
                  <a:cubicBezTo>
                    <a:pt x="172" y="0"/>
                    <a:pt x="172" y="0"/>
                    <a:pt x="172" y="0"/>
                  </a:cubicBezTo>
                  <a:cubicBezTo>
                    <a:pt x="172" y="42"/>
                    <a:pt x="172" y="42"/>
                    <a:pt x="172" y="42"/>
                  </a:cubicBezTo>
                  <a:cubicBezTo>
                    <a:pt x="146" y="45"/>
                    <a:pt x="121" y="55"/>
                    <a:pt x="100" y="71"/>
                  </a:cubicBezTo>
                  <a:cubicBezTo>
                    <a:pt x="71" y="42"/>
                    <a:pt x="71" y="42"/>
                    <a:pt x="71" y="42"/>
                  </a:cubicBezTo>
                  <a:cubicBezTo>
                    <a:pt x="42" y="71"/>
                    <a:pt x="42" y="71"/>
                    <a:pt x="42" y="71"/>
                  </a:cubicBezTo>
                  <a:cubicBezTo>
                    <a:pt x="71" y="100"/>
                    <a:pt x="71" y="100"/>
                    <a:pt x="71" y="100"/>
                  </a:cubicBezTo>
                  <a:cubicBezTo>
                    <a:pt x="55" y="121"/>
                    <a:pt x="45" y="146"/>
                    <a:pt x="42" y="172"/>
                  </a:cubicBezTo>
                  <a:cubicBezTo>
                    <a:pt x="0" y="172"/>
                    <a:pt x="0" y="172"/>
                    <a:pt x="0" y="172"/>
                  </a:cubicBezTo>
                  <a:cubicBezTo>
                    <a:pt x="0" y="212"/>
                    <a:pt x="0" y="212"/>
                    <a:pt x="0" y="212"/>
                  </a:cubicBezTo>
                  <a:cubicBezTo>
                    <a:pt x="42" y="212"/>
                    <a:pt x="42" y="212"/>
                    <a:pt x="42" y="212"/>
                  </a:cubicBezTo>
                  <a:cubicBezTo>
                    <a:pt x="46" y="245"/>
                    <a:pt x="61" y="276"/>
                    <a:pt x="85" y="299"/>
                  </a:cubicBezTo>
                  <a:cubicBezTo>
                    <a:pt x="108" y="323"/>
                    <a:pt x="139" y="338"/>
                    <a:pt x="172" y="342"/>
                  </a:cubicBezTo>
                  <a:cubicBezTo>
                    <a:pt x="172" y="384"/>
                    <a:pt x="172" y="384"/>
                    <a:pt x="172" y="384"/>
                  </a:cubicBezTo>
                  <a:cubicBezTo>
                    <a:pt x="212" y="384"/>
                    <a:pt x="212" y="384"/>
                    <a:pt x="212" y="384"/>
                  </a:cubicBezTo>
                  <a:cubicBezTo>
                    <a:pt x="212" y="342"/>
                    <a:pt x="212" y="342"/>
                    <a:pt x="212" y="342"/>
                  </a:cubicBezTo>
                  <a:cubicBezTo>
                    <a:pt x="238" y="339"/>
                    <a:pt x="263" y="329"/>
                    <a:pt x="284" y="313"/>
                  </a:cubicBezTo>
                  <a:cubicBezTo>
                    <a:pt x="313" y="342"/>
                    <a:pt x="313" y="342"/>
                    <a:pt x="313" y="342"/>
                  </a:cubicBezTo>
                  <a:cubicBezTo>
                    <a:pt x="342" y="313"/>
                    <a:pt x="342" y="313"/>
                    <a:pt x="342" y="313"/>
                  </a:cubicBezTo>
                  <a:cubicBezTo>
                    <a:pt x="313" y="284"/>
                    <a:pt x="313" y="284"/>
                    <a:pt x="313" y="284"/>
                  </a:cubicBezTo>
                  <a:cubicBezTo>
                    <a:pt x="329" y="263"/>
                    <a:pt x="339" y="238"/>
                    <a:pt x="342" y="212"/>
                  </a:cubicBezTo>
                  <a:lnTo>
                    <a:pt x="384" y="2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965">
              <a:extLst>
                <a:ext uri="{FF2B5EF4-FFF2-40B4-BE49-F238E27FC236}">
                  <a16:creationId xmlns:a16="http://schemas.microsoft.com/office/drawing/2014/main" id="{91B32944-6120-4FA0-9EEA-C03EFA37CC6F}"/>
                </a:ext>
              </a:extLst>
            </p:cNvPr>
            <p:cNvSpPr>
              <a:spLocks/>
            </p:cNvSpPr>
            <p:nvPr/>
          </p:nvSpPr>
          <p:spPr bwMode="auto">
            <a:xfrm>
              <a:off x="6407260" y="4937524"/>
              <a:ext cx="259900" cy="261457"/>
            </a:xfrm>
            <a:custGeom>
              <a:avLst/>
              <a:gdLst>
                <a:gd name="T0" fmla="*/ 0 w 225"/>
                <a:gd name="T1" fmla="*/ 114 h 227"/>
                <a:gd name="T2" fmla="*/ 25 w 225"/>
                <a:gd name="T3" fmla="*/ 43 h 227"/>
                <a:gd name="T4" fmla="*/ 89 w 225"/>
                <a:gd name="T5" fmla="*/ 5 h 227"/>
                <a:gd name="T6" fmla="*/ 163 w 225"/>
                <a:gd name="T7" fmla="*/ 16 h 227"/>
                <a:gd name="T8" fmla="*/ 214 w 225"/>
                <a:gd name="T9" fmla="*/ 71 h 227"/>
                <a:gd name="T10" fmla="*/ 217 w 225"/>
                <a:gd name="T11" fmla="*/ 146 h 227"/>
                <a:gd name="T12" fmla="*/ 173 w 225"/>
                <a:gd name="T13" fmla="*/ 206 h 227"/>
                <a:gd name="T14" fmla="*/ 100 w 225"/>
                <a:gd name="T15" fmla="*/ 225 h 227"/>
                <a:gd name="T16" fmla="*/ 32 w 225"/>
                <a:gd name="T17" fmla="*/ 193 h 227"/>
                <a:gd name="T18" fmla="*/ 8 w 225"/>
                <a:gd name="T19" fmla="*/ 157 h 227"/>
                <a:gd name="T20" fmla="*/ 0 w 225"/>
                <a:gd name="T21" fmla="*/ 1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7">
                  <a:moveTo>
                    <a:pt x="0" y="114"/>
                  </a:moveTo>
                  <a:cubicBezTo>
                    <a:pt x="0" y="88"/>
                    <a:pt x="9" y="63"/>
                    <a:pt x="25" y="43"/>
                  </a:cubicBezTo>
                  <a:cubicBezTo>
                    <a:pt x="41" y="24"/>
                    <a:pt x="64" y="10"/>
                    <a:pt x="89" y="5"/>
                  </a:cubicBezTo>
                  <a:cubicBezTo>
                    <a:pt x="115" y="0"/>
                    <a:pt x="141" y="4"/>
                    <a:pt x="163" y="16"/>
                  </a:cubicBezTo>
                  <a:cubicBezTo>
                    <a:pt x="186" y="28"/>
                    <a:pt x="204" y="48"/>
                    <a:pt x="214" y="71"/>
                  </a:cubicBezTo>
                  <a:cubicBezTo>
                    <a:pt x="224" y="95"/>
                    <a:pt x="225" y="122"/>
                    <a:pt x="217" y="146"/>
                  </a:cubicBezTo>
                  <a:cubicBezTo>
                    <a:pt x="210" y="171"/>
                    <a:pt x="194" y="192"/>
                    <a:pt x="173" y="206"/>
                  </a:cubicBezTo>
                  <a:cubicBezTo>
                    <a:pt x="151" y="221"/>
                    <a:pt x="126" y="227"/>
                    <a:pt x="100" y="225"/>
                  </a:cubicBezTo>
                  <a:cubicBezTo>
                    <a:pt x="75" y="222"/>
                    <a:pt x="51" y="211"/>
                    <a:pt x="32" y="193"/>
                  </a:cubicBezTo>
                  <a:cubicBezTo>
                    <a:pt x="22" y="182"/>
                    <a:pt x="14" y="170"/>
                    <a:pt x="8" y="157"/>
                  </a:cubicBezTo>
                  <a:cubicBezTo>
                    <a:pt x="3" y="143"/>
                    <a:pt x="0" y="129"/>
                    <a:pt x="0" y="11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966">
              <a:extLst>
                <a:ext uri="{FF2B5EF4-FFF2-40B4-BE49-F238E27FC236}">
                  <a16:creationId xmlns:a16="http://schemas.microsoft.com/office/drawing/2014/main" id="{85415ED2-71D0-41A5-909E-21E07E71B40B}"/>
                </a:ext>
              </a:extLst>
            </p:cNvPr>
            <p:cNvSpPr>
              <a:spLocks/>
            </p:cNvSpPr>
            <p:nvPr/>
          </p:nvSpPr>
          <p:spPr bwMode="auto">
            <a:xfrm>
              <a:off x="6362127" y="4991995"/>
              <a:ext cx="250563" cy="249007"/>
            </a:xfrm>
            <a:custGeom>
              <a:avLst/>
              <a:gdLst>
                <a:gd name="T0" fmla="*/ 131 w 161"/>
                <a:gd name="T1" fmla="*/ 0 h 160"/>
                <a:gd name="T2" fmla="*/ 56 w 161"/>
                <a:gd name="T3" fmla="*/ 0 h 160"/>
                <a:gd name="T4" fmla="*/ 56 w 161"/>
                <a:gd name="T5" fmla="*/ 30 h 160"/>
                <a:gd name="T6" fmla="*/ 110 w 161"/>
                <a:gd name="T7" fmla="*/ 30 h 160"/>
                <a:gd name="T8" fmla="*/ 0 w 161"/>
                <a:gd name="T9" fmla="*/ 139 h 160"/>
                <a:gd name="T10" fmla="*/ 22 w 161"/>
                <a:gd name="T11" fmla="*/ 160 h 160"/>
                <a:gd name="T12" fmla="*/ 131 w 161"/>
                <a:gd name="T13" fmla="*/ 51 h 160"/>
                <a:gd name="T14" fmla="*/ 131 w 161"/>
                <a:gd name="T15" fmla="*/ 105 h 160"/>
                <a:gd name="T16" fmla="*/ 161 w 161"/>
                <a:gd name="T17" fmla="*/ 105 h 160"/>
                <a:gd name="T18" fmla="*/ 161 w 161"/>
                <a:gd name="T19" fmla="*/ 30 h 160"/>
                <a:gd name="T20" fmla="*/ 161 w 161"/>
                <a:gd name="T21" fmla="*/ 0 h 160"/>
                <a:gd name="T22" fmla="*/ 131 w 161"/>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60">
                  <a:moveTo>
                    <a:pt x="131" y="0"/>
                  </a:moveTo>
                  <a:lnTo>
                    <a:pt x="56" y="0"/>
                  </a:lnTo>
                  <a:lnTo>
                    <a:pt x="56" y="30"/>
                  </a:lnTo>
                  <a:lnTo>
                    <a:pt x="110" y="30"/>
                  </a:lnTo>
                  <a:lnTo>
                    <a:pt x="0" y="139"/>
                  </a:lnTo>
                  <a:lnTo>
                    <a:pt x="22" y="160"/>
                  </a:lnTo>
                  <a:lnTo>
                    <a:pt x="131" y="51"/>
                  </a:lnTo>
                  <a:lnTo>
                    <a:pt x="131" y="105"/>
                  </a:lnTo>
                  <a:lnTo>
                    <a:pt x="161" y="105"/>
                  </a:lnTo>
                  <a:lnTo>
                    <a:pt x="161" y="30"/>
                  </a:lnTo>
                  <a:lnTo>
                    <a:pt x="161" y="0"/>
                  </a:ln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71319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90" name="Rectangle 89" descr="Savings illustration">
            <a:extLst>
              <a:ext uri="{FF2B5EF4-FFF2-40B4-BE49-F238E27FC236}">
                <a16:creationId xmlns:a16="http://schemas.microsoft.com/office/drawing/2014/main" id="{580513C6-A799-4487-8F8A-965301126E6D}"/>
              </a:ext>
            </a:extLst>
          </p:cNvPr>
          <p:cNvSpPr/>
          <p:nvPr/>
        </p:nvSpPr>
        <p:spPr>
          <a:xfrm>
            <a:off x="6000334" y="0"/>
            <a:ext cx="619166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0" name="Group 29" descr="Microsoft Azure and AWS">
            <a:extLst>
              <a:ext uri="{FF2B5EF4-FFF2-40B4-BE49-F238E27FC236}">
                <a16:creationId xmlns:a16="http://schemas.microsoft.com/office/drawing/2014/main" id="{82151283-B75F-4A35-90D3-1343FB85A1CB}"/>
              </a:ext>
            </a:extLst>
          </p:cNvPr>
          <p:cNvGrpSpPr/>
          <p:nvPr/>
        </p:nvGrpSpPr>
        <p:grpSpPr>
          <a:xfrm>
            <a:off x="537351" y="2196840"/>
            <a:ext cx="4626086" cy="2636350"/>
            <a:chOff x="307549" y="2932685"/>
            <a:chExt cx="4626086" cy="2636350"/>
          </a:xfrm>
        </p:grpSpPr>
        <p:sp>
          <p:nvSpPr>
            <p:cNvPr id="92" name="Freeform: Shape 91">
              <a:extLst>
                <a:ext uri="{FF2B5EF4-FFF2-40B4-BE49-F238E27FC236}">
                  <a16:creationId xmlns:a16="http://schemas.microsoft.com/office/drawing/2014/main" id="{0006C8FC-98DB-4B8F-8C11-CEB8185007D1}"/>
                </a:ext>
              </a:extLst>
            </p:cNvPr>
            <p:cNvSpPr/>
            <p:nvPr/>
          </p:nvSpPr>
          <p:spPr>
            <a:xfrm>
              <a:off x="307549"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24F526D-B459-4349-92AF-6BCFB65AD067}"/>
                </a:ext>
              </a:extLst>
            </p:cNvPr>
            <p:cNvSpPr/>
            <p:nvPr/>
          </p:nvSpPr>
          <p:spPr>
            <a:xfrm>
              <a:off x="2814624" y="4189266"/>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320EC9A-9516-4EEB-B80F-7B505FC2D7E5}"/>
                </a:ext>
              </a:extLst>
            </p:cNvPr>
            <p:cNvGrpSpPr/>
            <p:nvPr/>
          </p:nvGrpSpPr>
          <p:grpSpPr>
            <a:xfrm>
              <a:off x="880265" y="3694335"/>
              <a:ext cx="1558689" cy="1083497"/>
              <a:chOff x="1386418" y="3694335"/>
              <a:chExt cx="1558689" cy="1083497"/>
            </a:xfrm>
          </p:grpSpPr>
          <p:sp>
            <p:nvSpPr>
              <p:cNvPr id="79" name="Freeform: Shape 78">
                <a:extLst>
                  <a:ext uri="{FF2B5EF4-FFF2-40B4-BE49-F238E27FC236}">
                    <a16:creationId xmlns:a16="http://schemas.microsoft.com/office/drawing/2014/main" id="{6CD9BC6B-8E1F-4380-8AFE-A1B9E36203FE}"/>
                  </a:ext>
                </a:extLst>
              </p:cNvPr>
              <p:cNvSpPr/>
              <p:nvPr/>
            </p:nvSpPr>
            <p:spPr>
              <a:xfrm>
                <a:off x="2372183"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28B1E8"/>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78F4735-20F3-4F1A-871F-A70E37CE142D}"/>
                  </a:ext>
                </a:extLst>
              </p:cNvPr>
              <p:cNvSpPr/>
              <p:nvPr/>
            </p:nvSpPr>
            <p:spPr>
              <a:xfrm>
                <a:off x="1388102" y="4023765"/>
                <a:ext cx="994191" cy="749854"/>
              </a:xfrm>
              <a:custGeom>
                <a:avLst/>
                <a:gdLst>
                  <a:gd name="connsiteX0" fmla="*/ 10307 w 1350397"/>
                  <a:gd name="connsiteY0" fmla="*/ 10307 h 1018520"/>
                  <a:gd name="connsiteX1" fmla="*/ 1346972 w 1350397"/>
                  <a:gd name="connsiteY1" fmla="*/ 781635 h 1018520"/>
                  <a:gd name="connsiteX2" fmla="*/ 1346972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6972" y="781635"/>
                    </a:lnTo>
                    <a:lnTo>
                      <a:pt x="1346972" y="1017383"/>
                    </a:lnTo>
                    <a:lnTo>
                      <a:pt x="10307" y="246054"/>
                    </a:lnTo>
                    <a:lnTo>
                      <a:pt x="10307" y="10307"/>
                    </a:ln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894829C-C23C-4811-B507-97DE768D97B0}"/>
                  </a:ext>
                </a:extLst>
              </p:cNvPr>
              <p:cNvSpPr/>
              <p:nvPr/>
            </p:nvSpPr>
            <p:spPr>
              <a:xfrm>
                <a:off x="1386418" y="3694335"/>
                <a:ext cx="1558689" cy="909936"/>
              </a:xfrm>
              <a:custGeom>
                <a:avLst/>
                <a:gdLst>
                  <a:gd name="connsiteX0" fmla="*/ 774769 w 2117148"/>
                  <a:gd name="connsiteY0" fmla="*/ 10307 h 1235957"/>
                  <a:gd name="connsiteX1" fmla="*/ 2114867 w 2117148"/>
                  <a:gd name="connsiteY1" fmla="*/ 783924 h 1235957"/>
                  <a:gd name="connsiteX2" fmla="*/ 1349260 w 2117148"/>
                  <a:gd name="connsiteY2" fmla="*/ 1229098 h 1235957"/>
                  <a:gd name="connsiteX3" fmla="*/ 10307 w 2117148"/>
                  <a:gd name="connsiteY3" fmla="*/ 455480 h 1235957"/>
                  <a:gd name="connsiteX4" fmla="*/ 774769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4769" y="10307"/>
                    </a:moveTo>
                    <a:lnTo>
                      <a:pt x="2114867" y="783924"/>
                    </a:lnTo>
                    <a:lnTo>
                      <a:pt x="1349260" y="1229098"/>
                    </a:lnTo>
                    <a:lnTo>
                      <a:pt x="10307" y="455480"/>
                    </a:lnTo>
                    <a:lnTo>
                      <a:pt x="774769" y="10307"/>
                    </a:lnTo>
                  </a:path>
                </a:pathLst>
              </a:custGeom>
              <a:solidFill>
                <a:srgbClr val="50E6FF"/>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3DEF37-3320-4267-9F95-C4743520ACD2}"/>
                  </a:ext>
                </a:extLst>
              </p:cNvPr>
              <p:cNvSpPr/>
              <p:nvPr/>
            </p:nvSpPr>
            <p:spPr>
              <a:xfrm>
                <a:off x="1618114" y="3833353"/>
                <a:ext cx="1086869" cy="631900"/>
              </a:xfrm>
              <a:custGeom>
                <a:avLst/>
                <a:gdLst>
                  <a:gd name="connsiteX0" fmla="*/ 743870 w 1476282"/>
                  <a:gd name="connsiteY0" fmla="*/ 580220 h 858303"/>
                  <a:gd name="connsiteX1" fmla="*/ 994495 w 1476282"/>
                  <a:gd name="connsiteY1" fmla="*/ 432592 h 858303"/>
                  <a:gd name="connsiteX2" fmla="*/ 743870 w 1476282"/>
                  <a:gd name="connsiteY2" fmla="*/ 284964 h 858303"/>
                  <a:gd name="connsiteX3" fmla="*/ 493246 w 1476282"/>
                  <a:gd name="connsiteY3" fmla="*/ 432592 h 858303"/>
                  <a:gd name="connsiteX4" fmla="*/ 743870 w 1476282"/>
                  <a:gd name="connsiteY4" fmla="*/ 580220 h 858303"/>
                  <a:gd name="connsiteX5" fmla="*/ 651173 w 1476282"/>
                  <a:gd name="connsiteY5" fmla="*/ 10307 h 858303"/>
                  <a:gd name="connsiteX6" fmla="*/ 1467134 w 1476282"/>
                  <a:gd name="connsiteY6" fmla="*/ 481802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1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3870" y="580220"/>
                    </a:moveTo>
                    <a:cubicBezTo>
                      <a:pt x="881199" y="580220"/>
                      <a:pt x="994495" y="513845"/>
                      <a:pt x="994495" y="432592"/>
                    </a:cubicBezTo>
                    <a:cubicBezTo>
                      <a:pt x="994495" y="351339"/>
                      <a:pt x="881199" y="284964"/>
                      <a:pt x="743870" y="284964"/>
                    </a:cubicBezTo>
                    <a:cubicBezTo>
                      <a:pt x="606542" y="284964"/>
                      <a:pt x="493246" y="351339"/>
                      <a:pt x="493246" y="432592"/>
                    </a:cubicBezTo>
                    <a:cubicBezTo>
                      <a:pt x="493246" y="513845"/>
                      <a:pt x="606542" y="580220"/>
                      <a:pt x="743870" y="580220"/>
                    </a:cubicBezTo>
                    <a:moveTo>
                      <a:pt x="651173" y="10307"/>
                    </a:moveTo>
                    <a:lnTo>
                      <a:pt x="1467134" y="481802"/>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1" y="319296"/>
                      <a:pt x="97281" y="276953"/>
                    </a:cubicBezTo>
                    <a:cubicBezTo>
                      <a:pt x="97281" y="230032"/>
                      <a:pt x="62949" y="188834"/>
                      <a:pt x="10307" y="160224"/>
                    </a:cubicBezTo>
                    <a:lnTo>
                      <a:pt x="266653" y="10307"/>
                    </a:lnTo>
                    <a:cubicBezTo>
                      <a:pt x="312430" y="43495"/>
                      <a:pt x="382238" y="64094"/>
                      <a:pt x="460058" y="64094"/>
                    </a:cubicBezTo>
                    <a:cubicBezTo>
                      <a:pt x="536733" y="64094"/>
                      <a:pt x="605397" y="43495"/>
                      <a:pt x="651173" y="10307"/>
                    </a:cubicBezTo>
                  </a:path>
                </a:pathLst>
              </a:custGeom>
              <a:solidFill>
                <a:srgbClr val="0079D4"/>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F87F9A1E-041A-4474-ABAA-08489F0FF570}"/>
                </a:ext>
              </a:extLst>
            </p:cNvPr>
            <p:cNvGrpSpPr/>
            <p:nvPr/>
          </p:nvGrpSpPr>
          <p:grpSpPr>
            <a:xfrm>
              <a:off x="3374946" y="2932685"/>
              <a:ext cx="1558689" cy="1845147"/>
              <a:chOff x="3344466" y="2932685"/>
              <a:chExt cx="1558689" cy="1845147"/>
            </a:xfrm>
          </p:grpSpPr>
          <p:sp>
            <p:nvSpPr>
              <p:cNvPr id="61" name="Freeform: Shape 60">
                <a:extLst>
                  <a:ext uri="{FF2B5EF4-FFF2-40B4-BE49-F238E27FC236}">
                    <a16:creationId xmlns:a16="http://schemas.microsoft.com/office/drawing/2014/main" id="{BFE5596B-BE98-4493-B295-08EF4A71D0FA}"/>
                  </a:ext>
                </a:extLst>
              </p:cNvPr>
              <p:cNvSpPr/>
              <p:nvPr/>
            </p:nvSpPr>
            <p:spPr>
              <a:xfrm>
                <a:off x="3344466" y="369433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5480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5480"/>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D5C01B1-28A2-4FC4-829D-71E30457D2CC}"/>
                  </a:ext>
                </a:extLst>
              </p:cNvPr>
              <p:cNvSpPr/>
              <p:nvPr/>
            </p:nvSpPr>
            <p:spPr>
              <a:xfrm>
                <a:off x="4330232" y="4263887"/>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1A9DEAB-7012-4DCF-9A05-A03D69A8722B}"/>
                  </a:ext>
                </a:extLst>
              </p:cNvPr>
              <p:cNvSpPr/>
              <p:nvPr/>
            </p:nvSpPr>
            <p:spPr>
              <a:xfrm>
                <a:off x="3346152" y="4023765"/>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59DBCFC-B04C-48A0-B539-4E83C893218F}"/>
                  </a:ext>
                </a:extLst>
              </p:cNvPr>
              <p:cNvSpPr/>
              <p:nvPr/>
            </p:nvSpPr>
            <p:spPr>
              <a:xfrm>
                <a:off x="3344466" y="3503923"/>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631BB-B96D-444B-97F9-9B3DEAB515B1}"/>
                  </a:ext>
                </a:extLst>
              </p:cNvPr>
              <p:cNvSpPr/>
              <p:nvPr/>
            </p:nvSpPr>
            <p:spPr>
              <a:xfrm>
                <a:off x="4330232" y="4073475"/>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97FC13FB-5ADA-42C1-86E1-226F5DD70D97}"/>
                  </a:ext>
                </a:extLst>
              </p:cNvPr>
              <p:cNvSpPr/>
              <p:nvPr/>
            </p:nvSpPr>
            <p:spPr>
              <a:xfrm>
                <a:off x="3346152" y="3833353"/>
                <a:ext cx="994191" cy="749854"/>
              </a:xfrm>
              <a:custGeom>
                <a:avLst/>
                <a:gdLst>
                  <a:gd name="connsiteX0" fmla="*/ 10307 w 1350397"/>
                  <a:gd name="connsiteY0" fmla="*/ 10307 h 1018520"/>
                  <a:gd name="connsiteX1" fmla="*/ 1348116 w 1350397"/>
                  <a:gd name="connsiteY1" fmla="*/ 781636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6"/>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42A8CAA-6231-4D8F-B14B-F7BFAEC949E3}"/>
                  </a:ext>
                </a:extLst>
              </p:cNvPr>
              <p:cNvSpPr/>
              <p:nvPr/>
            </p:nvSpPr>
            <p:spPr>
              <a:xfrm>
                <a:off x="3344466" y="3313510"/>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3EE53F0-3936-4BEC-9AC3-6D7D19B3E8D1}"/>
                  </a:ext>
                </a:extLst>
              </p:cNvPr>
              <p:cNvSpPr/>
              <p:nvPr/>
            </p:nvSpPr>
            <p:spPr>
              <a:xfrm>
                <a:off x="4330232" y="3883063"/>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C3D8D4E-0AA0-422D-90EB-B0C2CED8900B}"/>
                  </a:ext>
                </a:extLst>
              </p:cNvPr>
              <p:cNvSpPr/>
              <p:nvPr/>
            </p:nvSpPr>
            <p:spPr>
              <a:xfrm>
                <a:off x="3346152" y="3642940"/>
                <a:ext cx="994191" cy="749854"/>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B1A74DC-BF7D-47A4-BE8C-B4757B3F4BDD}"/>
                  </a:ext>
                </a:extLst>
              </p:cNvPr>
              <p:cNvSpPr/>
              <p:nvPr/>
            </p:nvSpPr>
            <p:spPr>
              <a:xfrm>
                <a:off x="3344466" y="3123098"/>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FBE39E7-AB9A-4115-AE71-7017C18CE278}"/>
                  </a:ext>
                </a:extLst>
              </p:cNvPr>
              <p:cNvSpPr/>
              <p:nvPr/>
            </p:nvSpPr>
            <p:spPr>
              <a:xfrm>
                <a:off x="4330232" y="3692650"/>
                <a:ext cx="572923" cy="513945"/>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918C6246-C2E7-4C39-A8C2-261FDD927825}"/>
                  </a:ext>
                </a:extLst>
              </p:cNvPr>
              <p:cNvSpPr/>
              <p:nvPr/>
            </p:nvSpPr>
            <p:spPr>
              <a:xfrm>
                <a:off x="3346152" y="3452528"/>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15030B0-15E2-49B1-8AE1-666096C92393}"/>
                  </a:ext>
                </a:extLst>
              </p:cNvPr>
              <p:cNvSpPr/>
              <p:nvPr/>
            </p:nvSpPr>
            <p:spPr>
              <a:xfrm>
                <a:off x="3344466" y="2932685"/>
                <a:ext cx="1558689" cy="909936"/>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F234349-F67B-46DB-99A6-01C833CCCD33}"/>
                  </a:ext>
                </a:extLst>
              </p:cNvPr>
              <p:cNvSpPr/>
              <p:nvPr/>
            </p:nvSpPr>
            <p:spPr>
              <a:xfrm>
                <a:off x="3571109" y="3064120"/>
                <a:ext cx="1086869" cy="631900"/>
              </a:xfrm>
              <a:custGeom>
                <a:avLst/>
                <a:gdLst>
                  <a:gd name="connsiteX0" fmla="*/ 742726 w 1476282"/>
                  <a:gd name="connsiteY0" fmla="*/ 580220 h 858303"/>
                  <a:gd name="connsiteX1" fmla="*/ 993350 w 1476282"/>
                  <a:gd name="connsiteY1" fmla="*/ 432592 h 858303"/>
                  <a:gd name="connsiteX2" fmla="*/ 742726 w 1476282"/>
                  <a:gd name="connsiteY2" fmla="*/ 284964 h 858303"/>
                  <a:gd name="connsiteX3" fmla="*/ 492101 w 1476282"/>
                  <a:gd name="connsiteY3" fmla="*/ 432592 h 858303"/>
                  <a:gd name="connsiteX4" fmla="*/ 742726 w 1476282"/>
                  <a:gd name="connsiteY4" fmla="*/ 580220 h 858303"/>
                  <a:gd name="connsiteX5" fmla="*/ 651173 w 1476282"/>
                  <a:gd name="connsiteY5" fmla="*/ 10307 h 858303"/>
                  <a:gd name="connsiteX6" fmla="*/ 1467134 w 1476282"/>
                  <a:gd name="connsiteY6" fmla="*/ 481801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2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2726" y="580220"/>
                    </a:moveTo>
                    <a:cubicBezTo>
                      <a:pt x="880054" y="580220"/>
                      <a:pt x="993350" y="513845"/>
                      <a:pt x="993350" y="432592"/>
                    </a:cubicBezTo>
                    <a:cubicBezTo>
                      <a:pt x="993350" y="351339"/>
                      <a:pt x="880054" y="284964"/>
                      <a:pt x="742726" y="284964"/>
                    </a:cubicBezTo>
                    <a:cubicBezTo>
                      <a:pt x="605397" y="284964"/>
                      <a:pt x="492101" y="351339"/>
                      <a:pt x="492101" y="432592"/>
                    </a:cubicBezTo>
                    <a:cubicBezTo>
                      <a:pt x="493245" y="513845"/>
                      <a:pt x="605397" y="580220"/>
                      <a:pt x="742726" y="580220"/>
                    </a:cubicBezTo>
                    <a:moveTo>
                      <a:pt x="651173" y="10307"/>
                    </a:moveTo>
                    <a:lnTo>
                      <a:pt x="1467134" y="481801"/>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2" y="319296"/>
                      <a:pt x="97282" y="276953"/>
                    </a:cubicBezTo>
                    <a:cubicBezTo>
                      <a:pt x="97282" y="230032"/>
                      <a:pt x="62949" y="188834"/>
                      <a:pt x="10307" y="160224"/>
                    </a:cubicBezTo>
                    <a:lnTo>
                      <a:pt x="266653" y="10307"/>
                    </a:lnTo>
                    <a:cubicBezTo>
                      <a:pt x="312430" y="43494"/>
                      <a:pt x="382238" y="64094"/>
                      <a:pt x="460058" y="64094"/>
                    </a:cubicBezTo>
                    <a:cubicBezTo>
                      <a:pt x="535588" y="64094"/>
                      <a:pt x="605397" y="43494"/>
                      <a:pt x="651173" y="10307"/>
                    </a:cubicBezTo>
                  </a:path>
                </a:pathLst>
              </a:custGeom>
              <a:solidFill>
                <a:srgbClr val="FF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71BB6D-BA56-42D9-90EF-B425CDA3D37D}"/>
                  </a:ext>
                </a:extLst>
              </p:cNvPr>
              <p:cNvSpPr/>
              <p:nvPr/>
            </p:nvSpPr>
            <p:spPr>
              <a:xfrm>
                <a:off x="4330232" y="3502237"/>
                <a:ext cx="572923" cy="513945"/>
              </a:xfrm>
              <a:custGeom>
                <a:avLst/>
                <a:gdLst>
                  <a:gd name="connsiteX0" fmla="*/ 10307 w 778195"/>
                  <a:gd name="connsiteY0" fmla="*/ 456625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6625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6625"/>
                    </a:moveTo>
                    <a:lnTo>
                      <a:pt x="775913" y="10307"/>
                    </a:lnTo>
                    <a:lnTo>
                      <a:pt x="775913" y="246054"/>
                    </a:lnTo>
                    <a:lnTo>
                      <a:pt x="10307" y="692372"/>
                    </a:lnTo>
                    <a:lnTo>
                      <a:pt x="10307" y="456625"/>
                    </a:lnTo>
                  </a:path>
                </a:pathLst>
              </a:custGeom>
              <a:solidFill>
                <a:srgbClr val="FE9900"/>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5D6BE61-1699-43F3-B0B8-03B1792C469C}"/>
                  </a:ext>
                </a:extLst>
              </p:cNvPr>
              <p:cNvSpPr/>
              <p:nvPr/>
            </p:nvSpPr>
            <p:spPr>
              <a:xfrm>
                <a:off x="3346152" y="3262115"/>
                <a:ext cx="994191" cy="749854"/>
              </a:xfrm>
              <a:custGeom>
                <a:avLst/>
                <a:gdLst>
                  <a:gd name="connsiteX0" fmla="*/ 10307 w 1350397"/>
                  <a:gd name="connsiteY0" fmla="*/ 10307 h 1018520"/>
                  <a:gd name="connsiteX1" fmla="*/ 1348116 w 1350397"/>
                  <a:gd name="connsiteY1" fmla="*/ 782780 h 1018520"/>
                  <a:gd name="connsiteX2" fmla="*/ 1348116 w 1350397"/>
                  <a:gd name="connsiteY2" fmla="*/ 1018527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8527"/>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A6F5DF6D-54C8-4C97-AC09-B153738E0CF0}"/>
                </a:ext>
              </a:extLst>
            </p:cNvPr>
            <p:cNvGrpSpPr/>
            <p:nvPr/>
          </p:nvGrpSpPr>
          <p:grpSpPr>
            <a:xfrm>
              <a:off x="1000583" y="5151838"/>
              <a:ext cx="1489177" cy="417197"/>
              <a:chOff x="1168223" y="5056810"/>
              <a:chExt cx="1489177" cy="417197"/>
            </a:xfrm>
          </p:grpSpPr>
          <p:sp>
            <p:nvSpPr>
              <p:cNvPr id="9" name="Freeform: Shape 8">
                <a:extLst>
                  <a:ext uri="{FF2B5EF4-FFF2-40B4-BE49-F238E27FC236}">
                    <a16:creationId xmlns:a16="http://schemas.microsoft.com/office/drawing/2014/main" id="{89A9AE60-3274-4443-A12E-3ADBD345A0A4}"/>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49CE1985-8BD2-4308-9E69-9CF391DB881A}"/>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956E357E-C005-4B0B-83A0-821E19334643}"/>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29A0AE6-E605-4772-B6EB-352EE1F7E4D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944561B-AC2C-48FB-8E99-84688EB0CADE}"/>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08686D6-E624-4456-89C7-F04EC5FE1152}"/>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3AC7F999-26EB-4BFB-8D21-67AFBFC4505C}"/>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D7A2A118-8848-4872-BE58-05762D3BA92B}"/>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EBA0DFFE-6118-4D79-A365-12675BD3C65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3A88F958-E8E9-43DB-B102-D547A72044A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3B434F-0CF1-466A-A7D1-3341F89A52CE}"/>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09145240-163E-4A29-921F-A6BB8E3F98F5}"/>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5D1930D8-AA68-4F5B-AC8B-5E7C5A205147}"/>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F3F4000-9393-4FD8-941F-751C9362A0F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9" name="Group 88" descr="Windows server savings illustraion">
            <a:extLst>
              <a:ext uri="{FF2B5EF4-FFF2-40B4-BE49-F238E27FC236}">
                <a16:creationId xmlns:a16="http://schemas.microsoft.com/office/drawing/2014/main" id="{77315F96-9279-47CA-81B9-46E6E0594C1D}"/>
              </a:ext>
            </a:extLst>
          </p:cNvPr>
          <p:cNvGrpSpPr/>
          <p:nvPr/>
        </p:nvGrpSpPr>
        <p:grpSpPr>
          <a:xfrm>
            <a:off x="6732740" y="890002"/>
            <a:ext cx="4875730" cy="1952647"/>
            <a:chOff x="6701080" y="379711"/>
            <a:chExt cx="4876422" cy="1952924"/>
          </a:xfrm>
        </p:grpSpPr>
        <p:sp>
          <p:nvSpPr>
            <p:cNvPr id="94" name="Rectangle 93">
              <a:extLst>
                <a:ext uri="{FF2B5EF4-FFF2-40B4-BE49-F238E27FC236}">
                  <a16:creationId xmlns:a16="http://schemas.microsoft.com/office/drawing/2014/main" id="{A475615D-F891-4D80-B99A-FA952F99336B}"/>
                </a:ext>
              </a:extLst>
            </p:cNvPr>
            <p:cNvSpPr/>
            <p:nvPr/>
          </p:nvSpPr>
          <p:spPr bwMode="auto">
            <a:xfrm>
              <a:off x="7038294" y="379711"/>
              <a:ext cx="420347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Windows Server savings illustration </a:t>
              </a:r>
            </a:p>
          </p:txBody>
        </p:sp>
        <p:sp>
          <p:nvSpPr>
            <p:cNvPr id="95" name="Rectangle 94">
              <a:extLst>
                <a:ext uri="{FF2B5EF4-FFF2-40B4-BE49-F238E27FC236}">
                  <a16:creationId xmlns:a16="http://schemas.microsoft.com/office/drawing/2014/main" id="{F962D761-108B-4862-933E-CD7F309BE37D}"/>
                </a:ext>
              </a:extLst>
            </p:cNvPr>
            <p:cNvSpPr/>
            <p:nvPr/>
          </p:nvSpPr>
          <p:spPr bwMode="auto">
            <a:xfrm>
              <a:off x="7159625" y="1143766"/>
              <a:ext cx="77470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374DE2F1-C31B-49B3-904E-AECC41D0A8D3}"/>
                </a:ext>
              </a:extLst>
            </p:cNvPr>
            <p:cNvSpPr/>
            <p:nvPr/>
          </p:nvSpPr>
          <p:spPr bwMode="auto">
            <a:xfrm>
              <a:off x="7934325" y="1143766"/>
              <a:ext cx="1971675" cy="335304"/>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FE55EAA5-6278-42B9-9BB6-3E12056AAFCC}"/>
                </a:ext>
              </a:extLst>
            </p:cNvPr>
            <p:cNvSpPr/>
            <p:nvPr/>
          </p:nvSpPr>
          <p:spPr bwMode="auto">
            <a:xfrm>
              <a:off x="9906000" y="1143766"/>
              <a:ext cx="1671502" cy="335304"/>
            </a:xfrm>
            <a:prstGeom prst="rect">
              <a:avLst/>
            </a:prstGeom>
            <a:pattFill prst="ltVert">
              <a:fgClr>
                <a:schemeClr val="accent2"/>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D3C81E7-4C8E-4398-A58C-1828CD0509CE}"/>
                </a:ext>
              </a:extLst>
            </p:cNvPr>
            <p:cNvGrpSpPr/>
            <p:nvPr/>
          </p:nvGrpSpPr>
          <p:grpSpPr>
            <a:xfrm>
              <a:off x="7159625" y="1600012"/>
              <a:ext cx="4417876" cy="335304"/>
              <a:chOff x="7159625" y="1600012"/>
              <a:chExt cx="4417876" cy="335304"/>
            </a:xfrm>
          </p:grpSpPr>
          <p:sp>
            <p:nvSpPr>
              <p:cNvPr id="114" name="Rectangle 113">
                <a:extLst>
                  <a:ext uri="{FF2B5EF4-FFF2-40B4-BE49-F238E27FC236}">
                    <a16:creationId xmlns:a16="http://schemas.microsoft.com/office/drawing/2014/main" id="{6D4316EE-D0C0-4605-A705-D417CB830A80}"/>
                  </a:ext>
                </a:extLst>
              </p:cNvPr>
              <p:cNvSpPr/>
              <p:nvPr/>
            </p:nvSpPr>
            <p:spPr bwMode="auto">
              <a:xfrm>
                <a:off x="7159625" y="1600012"/>
                <a:ext cx="2762250" cy="3353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3440B95F-8540-43E1-AEE9-0D05EE08251A}"/>
                  </a:ext>
                </a:extLst>
              </p:cNvPr>
              <p:cNvSpPr/>
              <p:nvPr/>
            </p:nvSpPr>
            <p:spPr bwMode="auto">
              <a:xfrm>
                <a:off x="9921874" y="1600012"/>
                <a:ext cx="1655627" cy="3353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08" name="Rectangle 107">
              <a:extLst>
                <a:ext uri="{FF2B5EF4-FFF2-40B4-BE49-F238E27FC236}">
                  <a16:creationId xmlns:a16="http://schemas.microsoft.com/office/drawing/2014/main" id="{E10D624A-947A-40E9-9BBE-D7981A3BB6BD}"/>
                </a:ext>
              </a:extLst>
            </p:cNvPr>
            <p:cNvSpPr/>
            <p:nvPr/>
          </p:nvSpPr>
          <p:spPr bwMode="auto">
            <a:xfrm>
              <a:off x="7153275" y="2196110"/>
              <a:ext cx="136525" cy="136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Windows VM</a:t>
              </a:r>
            </a:p>
          </p:txBody>
        </p:sp>
        <p:sp>
          <p:nvSpPr>
            <p:cNvPr id="109" name="Rectangle 108">
              <a:extLst>
                <a:ext uri="{FF2B5EF4-FFF2-40B4-BE49-F238E27FC236}">
                  <a16:creationId xmlns:a16="http://schemas.microsoft.com/office/drawing/2014/main" id="{24F1DE54-DEBC-4A31-B68D-625A20E25684}"/>
                </a:ext>
              </a:extLst>
            </p:cNvPr>
            <p:cNvSpPr/>
            <p:nvPr/>
          </p:nvSpPr>
          <p:spPr bwMode="auto">
            <a:xfrm>
              <a:off x="8301037" y="2196110"/>
              <a:ext cx="136525" cy="136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ended security updates</a:t>
              </a:r>
            </a:p>
          </p:txBody>
        </p:sp>
        <p:sp>
          <p:nvSpPr>
            <p:cNvPr id="110" name="Rectangle 109">
              <a:extLst>
                <a:ext uri="{FF2B5EF4-FFF2-40B4-BE49-F238E27FC236}">
                  <a16:creationId xmlns:a16="http://schemas.microsoft.com/office/drawing/2014/main" id="{59FEC15C-CCA2-45BC-A5CF-FE9EDE9C2F1A}"/>
                </a:ext>
              </a:extLst>
            </p:cNvPr>
            <p:cNvSpPr/>
            <p:nvPr/>
          </p:nvSpPr>
          <p:spPr bwMode="auto">
            <a:xfrm>
              <a:off x="6701080" y="1230616"/>
              <a:ext cx="35271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11" name="Rectangle 110">
              <a:extLst>
                <a:ext uri="{FF2B5EF4-FFF2-40B4-BE49-F238E27FC236}">
                  <a16:creationId xmlns:a16="http://schemas.microsoft.com/office/drawing/2014/main" id="{79C43296-00FF-4989-B30B-81A9C9FF3A34}"/>
                </a:ext>
              </a:extLst>
            </p:cNvPr>
            <p:cNvSpPr/>
            <p:nvPr/>
          </p:nvSpPr>
          <p:spPr bwMode="auto">
            <a:xfrm>
              <a:off x="6760400" y="1686861"/>
              <a:ext cx="2933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12" name="Rectangle 111">
              <a:extLst>
                <a:ext uri="{FF2B5EF4-FFF2-40B4-BE49-F238E27FC236}">
                  <a16:creationId xmlns:a16="http://schemas.microsoft.com/office/drawing/2014/main" id="{427FE149-0CE3-4DFC-B0C4-1853E1545830}"/>
                </a:ext>
              </a:extLst>
            </p:cNvPr>
            <p:cNvSpPr/>
            <p:nvPr/>
          </p:nvSpPr>
          <p:spPr bwMode="auto">
            <a:xfrm>
              <a:off x="8029569" y="906661"/>
              <a:ext cx="1781190"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13" name="Rectangle 112">
              <a:extLst>
                <a:ext uri="{FF2B5EF4-FFF2-40B4-BE49-F238E27FC236}">
                  <a16:creationId xmlns:a16="http://schemas.microsoft.com/office/drawing/2014/main" id="{B3403B29-88E0-455D-B1BE-71CD0AD51740}"/>
                </a:ext>
              </a:extLst>
            </p:cNvPr>
            <p:cNvSpPr/>
            <p:nvPr/>
          </p:nvSpPr>
          <p:spPr bwMode="auto">
            <a:xfrm>
              <a:off x="10371405" y="906661"/>
              <a:ext cx="740692" cy="1616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SU Savings</a:t>
              </a:r>
            </a:p>
          </p:txBody>
        </p:sp>
      </p:grpSp>
      <p:grpSp>
        <p:nvGrpSpPr>
          <p:cNvPr id="24" name="Group 23" descr="SQL Server savings illustraion">
            <a:extLst>
              <a:ext uri="{FF2B5EF4-FFF2-40B4-BE49-F238E27FC236}">
                <a16:creationId xmlns:a16="http://schemas.microsoft.com/office/drawing/2014/main" id="{72D1AFA9-6596-4464-91C9-266D07E88076}"/>
              </a:ext>
            </a:extLst>
          </p:cNvPr>
          <p:cNvGrpSpPr/>
          <p:nvPr/>
        </p:nvGrpSpPr>
        <p:grpSpPr>
          <a:xfrm>
            <a:off x="6732742" y="3603824"/>
            <a:ext cx="4874403" cy="1856641"/>
            <a:chOff x="6732742" y="3603824"/>
            <a:chExt cx="4874403" cy="1856641"/>
          </a:xfrm>
        </p:grpSpPr>
        <p:sp>
          <p:nvSpPr>
            <p:cNvPr id="88" name="Rectangle 87">
              <a:extLst>
                <a:ext uri="{FF2B5EF4-FFF2-40B4-BE49-F238E27FC236}">
                  <a16:creationId xmlns:a16="http://schemas.microsoft.com/office/drawing/2014/main" id="{6F8D26B9-A715-469C-808E-F5557228909C}"/>
                </a:ext>
              </a:extLst>
            </p:cNvPr>
            <p:cNvSpPr/>
            <p:nvPr/>
          </p:nvSpPr>
          <p:spPr bwMode="auto">
            <a:xfrm>
              <a:off x="7498290" y="3603824"/>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8100000" scaled="1"/>
                  </a:gradFill>
                  <a:effectLst/>
                  <a:uLnTx/>
                  <a:uFillTx/>
                  <a:latin typeface="Segoe UI Semibold"/>
                  <a:ea typeface="Segoe UI" pitchFamily="34" charset="0"/>
                  <a:cs typeface="Segoe UI" pitchFamily="34" charset="0"/>
                </a:rPr>
                <a:t>SQL Server savings illustration (PaaS) </a:t>
              </a:r>
            </a:p>
          </p:txBody>
        </p:sp>
        <p:sp>
          <p:nvSpPr>
            <p:cNvPr id="116" name="Rectangle 115">
              <a:extLst>
                <a:ext uri="{FF2B5EF4-FFF2-40B4-BE49-F238E27FC236}">
                  <a16:creationId xmlns:a16="http://schemas.microsoft.com/office/drawing/2014/main" id="{1DA64E90-8FAD-4992-8E9F-8BD97EA93A9E}"/>
                </a:ext>
              </a:extLst>
            </p:cNvPr>
            <p:cNvSpPr/>
            <p:nvPr/>
          </p:nvSpPr>
          <p:spPr bwMode="auto">
            <a:xfrm>
              <a:off x="7191221" y="4309220"/>
              <a:ext cx="552123" cy="3352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1EF80290-69B6-4E0D-91C6-EA2E829D594E}"/>
                </a:ext>
              </a:extLst>
            </p:cNvPr>
            <p:cNvSpPr/>
            <p:nvPr/>
          </p:nvSpPr>
          <p:spPr bwMode="auto">
            <a:xfrm>
              <a:off x="7743344" y="4309220"/>
              <a:ext cx="3859140" cy="335256"/>
            </a:xfrm>
            <a:prstGeom prst="rect">
              <a:avLst/>
            </a:prstGeom>
            <a:pattFill prst="ltVert">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A87345F0-8A03-42C4-95CC-883FDC673127}"/>
                </a:ext>
              </a:extLst>
            </p:cNvPr>
            <p:cNvSpPr/>
            <p:nvPr/>
          </p:nvSpPr>
          <p:spPr bwMode="auto">
            <a:xfrm>
              <a:off x="7191220" y="4819688"/>
              <a:ext cx="4415925" cy="3352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75ADF8DB-B99C-41AF-9ED0-B162D016F0E8}"/>
                </a:ext>
              </a:extLst>
            </p:cNvPr>
            <p:cNvSpPr/>
            <p:nvPr/>
          </p:nvSpPr>
          <p:spPr bwMode="auto">
            <a:xfrm>
              <a:off x="6732742" y="4396057"/>
              <a:ext cx="352662"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a:t>
              </a:r>
            </a:p>
          </p:txBody>
        </p:sp>
        <p:sp>
          <p:nvSpPr>
            <p:cNvPr id="120" name="Rectangle 119">
              <a:extLst>
                <a:ext uri="{FF2B5EF4-FFF2-40B4-BE49-F238E27FC236}">
                  <a16:creationId xmlns:a16="http://schemas.microsoft.com/office/drawing/2014/main" id="{491AE49D-F0AC-4938-AB9A-2790DDAC9AA3}"/>
                </a:ext>
              </a:extLst>
            </p:cNvPr>
            <p:cNvSpPr/>
            <p:nvPr/>
          </p:nvSpPr>
          <p:spPr bwMode="auto">
            <a:xfrm>
              <a:off x="6792053" y="4906524"/>
              <a:ext cx="293350"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a:t>
              </a:r>
            </a:p>
          </p:txBody>
        </p:sp>
        <p:sp>
          <p:nvSpPr>
            <p:cNvPr id="121" name="Rectangle 120">
              <a:extLst>
                <a:ext uri="{FF2B5EF4-FFF2-40B4-BE49-F238E27FC236}">
                  <a16:creationId xmlns:a16="http://schemas.microsoft.com/office/drawing/2014/main" id="{75BC6062-63D7-4E87-9A4C-55522E15AF90}"/>
                </a:ext>
              </a:extLst>
            </p:cNvPr>
            <p:cNvSpPr/>
            <p:nvPr/>
          </p:nvSpPr>
          <p:spPr bwMode="auto">
            <a:xfrm>
              <a:off x="8782447" y="4063086"/>
              <a:ext cx="1780937" cy="161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Hybrid Benefit Savings</a:t>
              </a:r>
            </a:p>
          </p:txBody>
        </p:sp>
        <p:sp>
          <p:nvSpPr>
            <p:cNvPr id="122" name="Rectangle 121">
              <a:extLst>
                <a:ext uri="{FF2B5EF4-FFF2-40B4-BE49-F238E27FC236}">
                  <a16:creationId xmlns:a16="http://schemas.microsoft.com/office/drawing/2014/main" id="{F636ABBE-4330-4443-B93D-05BDA85762F4}"/>
                </a:ext>
              </a:extLst>
            </p:cNvPr>
            <p:cNvSpPr/>
            <p:nvPr/>
          </p:nvSpPr>
          <p:spPr bwMode="auto">
            <a:xfrm>
              <a:off x="7184871" y="5323959"/>
              <a:ext cx="136506" cy="136506"/>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 Database</a:t>
              </a:r>
            </a:p>
          </p:txBody>
        </p:sp>
        <p:sp>
          <p:nvSpPr>
            <p:cNvPr id="123" name="Rectangle 122">
              <a:extLst>
                <a:ext uri="{FF2B5EF4-FFF2-40B4-BE49-F238E27FC236}">
                  <a16:creationId xmlns:a16="http://schemas.microsoft.com/office/drawing/2014/main" id="{A454CD91-BC16-48CA-9B00-50110BC15EA5}"/>
                </a:ext>
              </a:extLst>
            </p:cNvPr>
            <p:cNvSpPr/>
            <p:nvPr/>
          </p:nvSpPr>
          <p:spPr bwMode="auto">
            <a:xfrm>
              <a:off x="8747015" y="5323959"/>
              <a:ext cx="136506" cy="1365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135"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WS RDS for SQL EE</a:t>
              </a:r>
            </a:p>
          </p:txBody>
        </p:sp>
      </p:grpSp>
      <p:sp>
        <p:nvSpPr>
          <p:cNvPr id="124" name="Rectangle 123">
            <a:extLst>
              <a:ext uri="{FF2B5EF4-FFF2-40B4-BE49-F238E27FC236}">
                <a16:creationId xmlns:a16="http://schemas.microsoft.com/office/drawing/2014/main" id="{9C7DEE08-21DA-438F-B74B-F761C24B96EF}"/>
              </a:ext>
            </a:extLst>
          </p:cNvPr>
          <p:cNvSpPr/>
          <p:nvPr/>
        </p:nvSpPr>
        <p:spPr bwMode="auto">
          <a:xfrm>
            <a:off x="6992686" y="5844741"/>
            <a:ext cx="3346111" cy="33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rPr>
              <a:t>Learn more: </a:t>
            </a:r>
            <a:r>
              <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hlinkClick r:id="rId3">
                  <a:extLst>
                    <a:ext uri="{A12FA001-AC4F-418D-AE19-62706E023703}">
                      <ahyp:hlinkClr xmlns:ahyp="http://schemas.microsoft.com/office/drawing/2018/hyperlinkcolor" xmlns="" val="tx"/>
                    </a:ext>
                  </a:extLst>
                </a:hlinkClick>
              </a:rPr>
              <a:t>aka.ms/why5xmore</a:t>
            </a: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a:ln>
                <a:noFill/>
              </a:ln>
              <a:gradFill>
                <a:gsLst>
                  <a:gs pos="0">
                    <a:srgbClr val="50E6FF"/>
                  </a:gs>
                  <a:gs pos="100000">
                    <a:srgbClr val="50E6FF"/>
                  </a:gs>
                </a:gsLst>
                <a:lin ang="8100000" scaled="1"/>
              </a:gradFill>
              <a:effectLst/>
              <a:uLnTx/>
              <a:uFillTx/>
              <a:latin typeface="Segoe UI Semibold"/>
              <a:ea typeface="+mn-ea"/>
              <a:cs typeface="Segoe UI" pitchFamily="34" charset="0"/>
            </a:endParaRPr>
          </a:p>
        </p:txBody>
      </p:sp>
      <p:sp>
        <p:nvSpPr>
          <p:cNvPr id="3" name="Title 2">
            <a:extLst>
              <a:ext uri="{FF2B5EF4-FFF2-40B4-BE49-F238E27FC236}">
                <a16:creationId xmlns:a16="http://schemas.microsoft.com/office/drawing/2014/main" id="{BD8851C5-42BF-410E-BC28-6603EBA17476}"/>
              </a:ext>
            </a:extLst>
          </p:cNvPr>
          <p:cNvSpPr>
            <a:spLocks noGrp="1"/>
          </p:cNvSpPr>
          <p:nvPr>
            <p:ph type="title"/>
          </p:nvPr>
        </p:nvSpPr>
        <p:spPr>
          <a:xfrm>
            <a:off x="250766" y="379701"/>
            <a:ext cx="5587322" cy="1020602"/>
          </a:xfrm>
        </p:spPr>
        <p:txBody>
          <a:bodyPr/>
          <a:lstStyle/>
          <a:p>
            <a:pPr defTabSz="932563">
              <a:defRPr/>
            </a:pPr>
            <a:r>
              <a:rPr lang="en-US" spc="-50" dirty="0">
                <a:ln w="3175">
                  <a:noFill/>
                </a:ln>
                <a:solidFill>
                  <a:schemeClr val="accent3"/>
                </a:solidFill>
              </a:rPr>
              <a:t>Pay less with Azure. </a:t>
            </a:r>
            <a:r>
              <a:rPr lang="en-US" spc="-50" dirty="0">
                <a:ln w="3175">
                  <a:noFill/>
                </a:ln>
                <a:solidFill>
                  <a:srgbClr val="FFFFFF"/>
                </a:solidFill>
              </a:rPr>
              <a:t>AWS is 5x more expensive. </a:t>
            </a:r>
            <a:endParaRPr lang="en-US" dirty="0"/>
          </a:p>
        </p:txBody>
      </p:sp>
      <p:sp>
        <p:nvSpPr>
          <p:cNvPr id="2" name="TextBox 1">
            <a:extLst>
              <a:ext uri="{FF2B5EF4-FFF2-40B4-BE49-F238E27FC236}">
                <a16:creationId xmlns:a16="http://schemas.microsoft.com/office/drawing/2014/main" id="{C48FF6ED-FA2E-4A8D-83D5-DD3C0B886E0D}"/>
              </a:ext>
            </a:extLst>
          </p:cNvPr>
          <p:cNvSpPr txBox="1"/>
          <p:nvPr/>
        </p:nvSpPr>
        <p:spPr>
          <a:xfrm>
            <a:off x="733396" y="5546537"/>
            <a:ext cx="484849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E6FF"/>
                </a:solidFill>
                <a:effectLst/>
                <a:uLnTx/>
                <a:uFillTx/>
                <a:latin typeface="Segoe UI Semibold"/>
                <a:ea typeface="Calibri" panose="020F0502020204030204" pitchFamily="34" charset="0"/>
                <a:cs typeface="Arial" panose="020B0604020202020204" pitchFamily="34" charset="0"/>
              </a:rPr>
              <a:t>Why run Windows Server and SQL Server anywhere else? </a:t>
            </a:r>
            <a:endParaRPr kumimoji="0" lang="en-US" sz="2000" b="1" i="0" u="none" strike="noStrike" kern="1200" cap="none" spc="0" normalizeH="0" baseline="0" noProof="0" dirty="0">
              <a:ln>
                <a:noFill/>
              </a:ln>
              <a:solidFill>
                <a:srgbClr val="50E6FF"/>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3CF31357-9647-45EA-A464-A0701F0ACB47}"/>
              </a:ext>
            </a:extLst>
          </p:cNvPr>
          <p:cNvSpPr txBox="1"/>
          <p:nvPr/>
        </p:nvSpPr>
        <p:spPr>
          <a:xfrm>
            <a:off x="4139326" y="4426727"/>
            <a:ext cx="572923" cy="307777"/>
          </a:xfrm>
          <a:prstGeom prst="rect">
            <a:avLst/>
          </a:prstGeom>
          <a:noFill/>
        </p:spPr>
        <p:txBody>
          <a:bodyPr wrap="square" lIns="0" tIns="0" rIns="0" bIns="0" rtlCol="0">
            <a:spAutoFit/>
          </a:bodyPr>
          <a:lstStyle/>
          <a:p>
            <a:pPr algn="l"/>
            <a:r>
              <a:rPr lang="en-US" sz="2000" b="1" dirty="0">
                <a:solidFill>
                  <a:schemeClr val="bg1"/>
                </a:solidFill>
              </a:rPr>
              <a:t>AWS</a:t>
            </a:r>
          </a:p>
        </p:txBody>
      </p:sp>
    </p:spTree>
    <p:extLst>
      <p:ext uri="{BB962C8B-B14F-4D97-AF65-F5344CB8AC3E}">
        <p14:creationId xmlns:p14="http://schemas.microsoft.com/office/powerpoint/2010/main" val="32874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sp>
        <p:nvSpPr>
          <p:cNvPr id="101" name="Freeform: Shape 100">
            <a:extLst>
              <a:ext uri="{FF2B5EF4-FFF2-40B4-BE49-F238E27FC236}">
                <a16:creationId xmlns:a16="http://schemas.microsoft.com/office/drawing/2014/main" id="{54366EC7-FE09-4FE4-8AEE-EE2E8632A75E}"/>
              </a:ext>
              <a:ext uri="{C183D7F6-B498-43B3-948B-1728B52AA6E4}">
                <adec:decorative xmlns:adec="http://schemas.microsoft.com/office/drawing/2017/decorative" xmlns="" val="1"/>
              </a:ext>
            </a:extLst>
          </p:cNvPr>
          <p:cNvSpPr/>
          <p:nvPr/>
        </p:nvSpPr>
        <p:spPr>
          <a:xfrm rot="20154046">
            <a:off x="3633090"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03" name="Freeform: Shape 102" descr="Microsoft Azure">
            <a:extLst>
              <a:ext uri="{FF2B5EF4-FFF2-40B4-BE49-F238E27FC236}">
                <a16:creationId xmlns:a16="http://schemas.microsoft.com/office/drawing/2014/main" id="{91932F17-18B5-41EF-86FF-0E8E48A54E10}"/>
              </a:ext>
            </a:extLst>
          </p:cNvPr>
          <p:cNvSpPr/>
          <p:nvPr/>
        </p:nvSpPr>
        <p:spPr>
          <a:xfrm rot="20154046">
            <a:off x="7603105" y="4847928"/>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99" name="Freeform: Shape 98" descr="Microsoft Azure">
            <a:extLst>
              <a:ext uri="{FF2B5EF4-FFF2-40B4-BE49-F238E27FC236}">
                <a16:creationId xmlns:a16="http://schemas.microsoft.com/office/drawing/2014/main" id="{F56F315F-3026-459F-A1C6-422A2DF6C3C2}"/>
              </a:ext>
            </a:extLst>
          </p:cNvPr>
          <p:cNvSpPr/>
          <p:nvPr/>
        </p:nvSpPr>
        <p:spPr>
          <a:xfrm rot="20154046">
            <a:off x="2061423" y="4847929"/>
            <a:ext cx="1003523" cy="585839"/>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0">
                <a:srgbClr val="000000">
                  <a:lumMod val="75000"/>
                  <a:lumOff val="25000"/>
                </a:srgbClr>
              </a:gs>
              <a:gs pos="100000">
                <a:srgbClr val="000000">
                  <a:alpha val="0"/>
                </a:srgbClr>
              </a:gs>
            </a:gsLst>
            <a:lin ang="8100000" scaled="1"/>
            <a:tileRect/>
          </a:gradFill>
          <a:ln w="11438"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11A42D30-2CD3-4294-B5FA-20EA55616D6B}"/>
              </a:ext>
            </a:extLst>
          </p:cNvPr>
          <p:cNvSpPr txBox="1"/>
          <p:nvPr/>
        </p:nvSpPr>
        <p:spPr>
          <a:xfrm>
            <a:off x="7365699" y="1506438"/>
            <a:ext cx="3238130" cy="498598"/>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rice-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43" name="TextBox 42">
            <a:extLst>
              <a:ext uri="{FF2B5EF4-FFF2-40B4-BE49-F238E27FC236}">
                <a16:creationId xmlns:a16="http://schemas.microsoft.com/office/drawing/2014/main" id="{98977EB7-F9A2-4A83-BFAD-D37F64DA494D}"/>
              </a:ext>
            </a:extLst>
          </p:cNvPr>
          <p:cNvSpPr txBox="1"/>
          <p:nvPr/>
        </p:nvSpPr>
        <p:spPr>
          <a:xfrm>
            <a:off x="1953202" y="1506438"/>
            <a:ext cx="2759282" cy="498598"/>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SQL IaaS Performanc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Segoe UI"/>
                <a:ea typeface="+mn-ea"/>
                <a:cs typeface="+mn-cs"/>
              </a:rPr>
              <a:t>GigaOm</a:t>
            </a:r>
            <a:r>
              <a:rPr kumimoji="0" lang="en-US" sz="1600" b="0" i="0" u="none" strike="noStrike" kern="1200" cap="none" spc="0" normalizeH="0" baseline="0" noProof="0">
                <a:ln>
                  <a:noFill/>
                </a:ln>
                <a:solidFill>
                  <a:srgbClr val="FFFFFF"/>
                </a:solidFill>
                <a:effectLst/>
                <a:uLnTx/>
                <a:uFillTx/>
                <a:latin typeface="Segoe UI"/>
                <a:ea typeface="+mn-ea"/>
                <a:cs typeface="+mn-cs"/>
              </a:rPr>
              <a:t> Benchmark | Jan 2020</a:t>
            </a:r>
          </a:p>
        </p:txBody>
      </p:sp>
      <p:sp>
        <p:nvSpPr>
          <p:cNvPr id="36" name="Rectangle 21">
            <a:extLst>
              <a:ext uri="{FF2B5EF4-FFF2-40B4-BE49-F238E27FC236}">
                <a16:creationId xmlns:a16="http://schemas.microsoft.com/office/drawing/2014/main" id="{FE82C940-9050-42A3-8D74-28FC20ADB2E1}"/>
              </a:ext>
            </a:extLst>
          </p:cNvPr>
          <p:cNvSpPr/>
          <p:nvPr/>
        </p:nvSpPr>
        <p:spPr bwMode="auto">
          <a:xfrm>
            <a:off x="-3558" y="5907090"/>
            <a:ext cx="12188688" cy="246221"/>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reater performance (3.6x faster) and lower price per transaction (84% cheaper)</a:t>
            </a:r>
          </a:p>
        </p:txBody>
      </p:sp>
      <p:sp>
        <p:nvSpPr>
          <p:cNvPr id="2" name="Title 1">
            <a:extLst>
              <a:ext uri="{FF2B5EF4-FFF2-40B4-BE49-F238E27FC236}">
                <a16:creationId xmlns:a16="http://schemas.microsoft.com/office/drawing/2014/main" id="{6374589E-193B-4636-88AB-57B0BFC7E44F}"/>
              </a:ext>
            </a:extLst>
          </p:cNvPr>
          <p:cNvSpPr>
            <a:spLocks noGrp="1"/>
          </p:cNvSpPr>
          <p:nvPr>
            <p:ph type="title"/>
          </p:nvPr>
        </p:nvSpPr>
        <p:spPr>
          <a:xfrm>
            <a:off x="399578" y="428415"/>
            <a:ext cx="11661794" cy="553998"/>
          </a:xfrm>
        </p:spPr>
        <p:txBody>
          <a:bodyPr/>
          <a:lstStyle/>
          <a:p>
            <a:pPr algn="l"/>
            <a:r>
              <a:rPr lang="en-US">
                <a:solidFill>
                  <a:schemeClr val="accent2"/>
                </a:solidFill>
              </a:rPr>
              <a:t>SQL Server: Best price-performance on Azure IaaS</a:t>
            </a:r>
          </a:p>
        </p:txBody>
      </p:sp>
      <p:sp>
        <p:nvSpPr>
          <p:cNvPr id="37" name="TextBox 36">
            <a:extLst>
              <a:ext uri="{FF2B5EF4-FFF2-40B4-BE49-F238E27FC236}">
                <a16:creationId xmlns:a16="http://schemas.microsoft.com/office/drawing/2014/main" id="{9A09D757-77B8-4FEF-B901-4E59FF2363BE}"/>
              </a:ext>
            </a:extLst>
          </p:cNvPr>
          <p:cNvSpPr txBox="1"/>
          <p:nvPr/>
        </p:nvSpPr>
        <p:spPr>
          <a:xfrm>
            <a:off x="9299935" y="6696245"/>
            <a:ext cx="2813271" cy="124650"/>
          </a:xfrm>
          <a:prstGeom prst="rect">
            <a:avLst/>
          </a:prstGeom>
          <a:noFill/>
        </p:spPr>
        <p:txBody>
          <a:bodyPr wrap="none" lIns="0" tIns="0" rIns="0" bIns="0" rtlCol="0">
            <a:spAutoFit/>
          </a:bodyPr>
          <a:lstStyle>
            <a:defPPr>
              <a:defRPr lang="en-US"/>
            </a:defPPr>
            <a:lvl1pPr algn="ctr" defTabSz="914225" fontAlgn="base">
              <a:lnSpc>
                <a:spcPct val="90000"/>
              </a:lnSpc>
              <a:spcBef>
                <a:spcPct val="0"/>
              </a:spcBef>
              <a:spcAft>
                <a:spcPts val="588"/>
              </a:spcAft>
              <a:defRPr sz="4000">
                <a:gradFill>
                  <a:gsLst>
                    <a:gs pos="26804">
                      <a:schemeClr val="tx1"/>
                    </a:gs>
                    <a:gs pos="49000">
                      <a:schemeClr val="tx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225" rtl="0" eaLnBrk="1" fontAlgn="base" latinLnBrk="0" hangingPunct="1">
              <a:lnSpc>
                <a:spcPct val="90000"/>
              </a:lnSpc>
              <a:spcBef>
                <a:spcPct val="0"/>
              </a:spcBef>
              <a:spcAft>
                <a:spcPts val="588"/>
              </a:spcAft>
              <a:buClrTx/>
              <a:buSzTx/>
              <a:buFontTx/>
              <a:buNone/>
              <a:tabLst/>
              <a:defRPr/>
            </a:pPr>
            <a:r>
              <a:rPr kumimoji="0" lang="pt-BR"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32as_v4 Azure VMs    </a:t>
            </a:r>
            <a:r>
              <a:rPr kumimoji="0" lang="pt-BR" sz="9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VS.   </a:t>
            </a:r>
            <a:r>
              <a:rPr kumimoji="0" lang="pt-BR"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rPr>
              <a:t>r5a.8xlarge AWS instance </a:t>
            </a:r>
            <a:endParaRPr kumimoji="0" lang="en-US" sz="900" b="0" i="0" u="none" strike="noStrike" kern="1200" cap="none" spc="0" normalizeH="0" baseline="0" noProof="0">
              <a:ln>
                <a:noFill/>
              </a:ln>
              <a:solidFill>
                <a:srgbClr val="FF9900"/>
              </a:solidFill>
              <a:effectLst/>
              <a:uLnTx/>
              <a:uFillTx/>
              <a:latin typeface="Segoe UI Semibold"/>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AD534201-E9A5-4F25-8662-114BF743A138}"/>
              </a:ext>
            </a:extLst>
          </p:cNvPr>
          <p:cNvSpPr txBox="1"/>
          <p:nvPr/>
        </p:nvSpPr>
        <p:spPr>
          <a:xfrm>
            <a:off x="2434414" y="2514312"/>
            <a:ext cx="540211"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98.07</a:t>
            </a:r>
          </a:p>
        </p:txBody>
      </p:sp>
      <p:sp>
        <p:nvSpPr>
          <p:cNvPr id="45" name="g">
            <a:extLst>
              <a:ext uri="{FF2B5EF4-FFF2-40B4-BE49-F238E27FC236}">
                <a16:creationId xmlns:a16="http://schemas.microsoft.com/office/drawing/2014/main" id="{BAAF9BD1-0A8F-44CA-9CE5-344C71F05B71}"/>
              </a:ext>
              <a:ext uri="{C183D7F6-B498-43B3-948B-1728B52AA6E4}">
                <adec:decorative xmlns:adec="http://schemas.microsoft.com/office/drawing/2017/decorative" xmlns="" val="1"/>
              </a:ext>
            </a:extLst>
          </p:cNvPr>
          <p:cNvSpPr/>
          <p:nvPr/>
        </p:nvSpPr>
        <p:spPr bwMode="auto">
          <a:xfrm>
            <a:off x="2276176" y="2805573"/>
            <a:ext cx="769196" cy="21978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EEAA5E9-3503-4D2C-9681-CF711509FBCE}"/>
              </a:ext>
              <a:ext uri="{C183D7F6-B498-43B3-948B-1728B52AA6E4}">
                <adec:decorative xmlns:adec="http://schemas.microsoft.com/office/drawing/2017/decorative" xmlns="" val="1"/>
              </a:ext>
            </a:extLst>
          </p:cNvPr>
          <p:cNvSpPr/>
          <p:nvPr/>
        </p:nvSpPr>
        <p:spPr bwMode="auto">
          <a:xfrm>
            <a:off x="3858362" y="4507121"/>
            <a:ext cx="769196" cy="496257"/>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TextBox 46">
            <a:extLst>
              <a:ext uri="{FF2B5EF4-FFF2-40B4-BE49-F238E27FC236}">
                <a16:creationId xmlns:a16="http://schemas.microsoft.com/office/drawing/2014/main" id="{88BDEAB0-77F4-4953-9494-7A5799227C89}"/>
              </a:ext>
            </a:extLst>
          </p:cNvPr>
          <p:cNvSpPr txBox="1"/>
          <p:nvPr/>
        </p:nvSpPr>
        <p:spPr>
          <a:xfrm>
            <a:off x="3983274" y="4229999"/>
            <a:ext cx="519373"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194.08</a:t>
            </a:r>
          </a:p>
        </p:txBody>
      </p:sp>
      <p:sp>
        <p:nvSpPr>
          <p:cNvPr id="49" name="Rectangle 14">
            <a:extLst>
              <a:ext uri="{FF2B5EF4-FFF2-40B4-BE49-F238E27FC236}">
                <a16:creationId xmlns:a16="http://schemas.microsoft.com/office/drawing/2014/main" id="{AD6965FB-377A-4205-9675-CE9312F7307D}"/>
              </a:ext>
              <a:ext uri="{C183D7F6-B498-43B3-948B-1728B52AA6E4}">
                <adec:decorative xmlns:adec="http://schemas.microsoft.com/office/drawing/2017/decorative" xmlns="" val="1"/>
              </a:ext>
            </a:extLst>
          </p:cNvPr>
          <p:cNvSpPr/>
          <p:nvPr/>
        </p:nvSpPr>
        <p:spPr bwMode="auto">
          <a:xfrm rot="5400000">
            <a:off x="2980296" y="2915942"/>
            <a:ext cx="1367788" cy="114705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88A43ADF-66B4-43F8-931D-72E22D2856BC}"/>
              </a:ext>
            </a:extLst>
          </p:cNvPr>
          <p:cNvSpPr txBox="1"/>
          <p:nvPr/>
        </p:nvSpPr>
        <p:spPr>
          <a:xfrm>
            <a:off x="3418595" y="2643361"/>
            <a:ext cx="564679" cy="332399"/>
          </a:xfrm>
          <a:prstGeom prst="rect">
            <a:avLst/>
          </a:prstGeom>
          <a:solidFill>
            <a:srgbClr val="000000"/>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6x faster</a:t>
            </a:r>
          </a:p>
        </p:txBody>
      </p:sp>
      <p:sp>
        <p:nvSpPr>
          <p:cNvPr id="53" name="TextBox 52">
            <a:extLst>
              <a:ext uri="{FF2B5EF4-FFF2-40B4-BE49-F238E27FC236}">
                <a16:creationId xmlns:a16="http://schemas.microsoft.com/office/drawing/2014/main" id="{8AE670C1-76BB-4F94-B294-B465EED5B310}"/>
              </a:ext>
            </a:extLst>
          </p:cNvPr>
          <p:cNvSpPr txBox="1"/>
          <p:nvPr/>
        </p:nvSpPr>
        <p:spPr>
          <a:xfrm rot="16200000">
            <a:off x="917964" y="3821376"/>
            <a:ext cx="2013372"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T</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ransactions</a:t>
            </a:r>
            <a:r>
              <a:rPr kumimoji="0" lang="en-US" sz="1200" b="1" i="0" u="none" strike="noStrike" kern="1200" cap="none" spc="0" normalizeH="0" baseline="0" noProof="0">
                <a:ln>
                  <a:noFill/>
                </a:ln>
                <a:solidFill>
                  <a:srgbClr val="FFFFFF"/>
                </a:solidFill>
                <a:effectLst/>
                <a:uLnTx/>
                <a:uFillTx/>
                <a:latin typeface="Segoe UI Semibold"/>
                <a:ea typeface="+mn-ea"/>
                <a:cs typeface="+mn-cs"/>
              </a:rPr>
              <a:t> per second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r>
              <a:rPr kumimoji="0" lang="en-US" sz="1200" b="1" i="0" u="none" strike="noStrike" kern="1200" cap="none" spc="0" normalizeH="0" baseline="0" noProof="0">
                <a:ln>
                  <a:noFill/>
                </a:ln>
                <a:solidFill>
                  <a:srgbClr val="FFFFFF"/>
                </a:solidFill>
                <a:effectLst/>
                <a:uLnTx/>
                <a:uFillTx/>
                <a:latin typeface="Segoe UI Semibold"/>
                <a:ea typeface="+mn-ea"/>
                <a:cs typeface="+mn-cs"/>
              </a:rPr>
              <a:t>)</a:t>
            </a:r>
          </a:p>
        </p:txBody>
      </p:sp>
      <p:grpSp>
        <p:nvGrpSpPr>
          <p:cNvPr id="40" name="Group 39">
            <a:extLst>
              <a:ext uri="{FF2B5EF4-FFF2-40B4-BE49-F238E27FC236}">
                <a16:creationId xmlns:a16="http://schemas.microsoft.com/office/drawing/2014/main" id="{6B695CFF-857E-4DDB-948F-22C98EAD9AB4}"/>
              </a:ext>
              <a:ext uri="{C183D7F6-B498-43B3-948B-1728B52AA6E4}">
                <adec:decorative xmlns:adec="http://schemas.microsoft.com/office/drawing/2017/decorative" xmlns="" val="1"/>
              </a:ext>
            </a:extLst>
          </p:cNvPr>
          <p:cNvGrpSpPr/>
          <p:nvPr/>
        </p:nvGrpSpPr>
        <p:grpSpPr>
          <a:xfrm>
            <a:off x="2233531" y="5101334"/>
            <a:ext cx="864950" cy="242318"/>
            <a:chOff x="1168223" y="5056810"/>
            <a:chExt cx="1489177" cy="417197"/>
          </a:xfrm>
        </p:grpSpPr>
        <p:sp>
          <p:nvSpPr>
            <p:cNvPr id="41" name="Freeform: Shape 40">
              <a:extLst>
                <a:ext uri="{FF2B5EF4-FFF2-40B4-BE49-F238E27FC236}">
                  <a16:creationId xmlns:a16="http://schemas.microsoft.com/office/drawing/2014/main" id="{118465B9-BB17-435E-AD7D-F66A43178FA7}"/>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2E485D08-1EAE-4C56-BAF9-A9E1ED2F1C5B}"/>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7E7111A-1AA0-48A2-8555-FD6F897C3AA7}"/>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A79AC36-691B-4B33-A9DB-E0F20C8F7804}"/>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BB3D4F0E-3217-4190-BDBD-4FEF87537A96}"/>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0D0A7EA-341D-4B29-A93E-695AA67CF9AB}"/>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AE3868C-19BB-4A98-BBFC-FA0B8C69C833}"/>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5523942-3CB1-402A-85A8-10B4812EAF64}"/>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9452F87-D54C-42F2-8290-6298EF89B2FF}"/>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286F7879-AB17-4CAF-B159-D183A8AB946D}"/>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D0A37B4-D538-4390-9F1C-C589A6992BBA}"/>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8AB7B2C7-4AE6-4384-AEF4-49889E285C8E}"/>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D1D6785-146F-4045-A844-623DB7DA44BE}"/>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0ECC9E4D-3903-4FB4-AA26-85CF9FAC31D0}"/>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688F3FE-29A4-44C7-99F5-4D78940E6976}"/>
              </a:ext>
              <a:ext uri="{C183D7F6-B498-43B3-948B-1728B52AA6E4}">
                <adec:decorative xmlns:adec="http://schemas.microsoft.com/office/drawing/2017/decorative" xmlns="" val="1"/>
              </a:ext>
            </a:extLst>
          </p:cNvPr>
          <p:cNvGrpSpPr/>
          <p:nvPr/>
        </p:nvGrpSpPr>
        <p:grpSpPr>
          <a:xfrm>
            <a:off x="7393311" y="2173051"/>
            <a:ext cx="2709263" cy="3170601"/>
            <a:chOff x="7467067" y="2632877"/>
            <a:chExt cx="2709263" cy="3170601"/>
          </a:xfrm>
        </p:grpSpPr>
        <p:grpSp>
          <p:nvGrpSpPr>
            <p:cNvPr id="6" name="Group 5">
              <a:extLst>
                <a:ext uri="{FF2B5EF4-FFF2-40B4-BE49-F238E27FC236}">
                  <a16:creationId xmlns:a16="http://schemas.microsoft.com/office/drawing/2014/main" id="{C845C960-275D-4AEB-BABE-648879DE8989}"/>
                </a:ext>
              </a:extLst>
            </p:cNvPr>
            <p:cNvGrpSpPr/>
            <p:nvPr/>
          </p:nvGrpSpPr>
          <p:grpSpPr>
            <a:xfrm>
              <a:off x="7467067" y="2632877"/>
              <a:ext cx="2709263" cy="2830327"/>
              <a:chOff x="7467067" y="2749840"/>
              <a:chExt cx="2709263" cy="2830327"/>
            </a:xfrm>
          </p:grpSpPr>
          <p:sp>
            <p:nvSpPr>
              <p:cNvPr id="27" name="TextBox 26">
                <a:extLst>
                  <a:ext uri="{FF2B5EF4-FFF2-40B4-BE49-F238E27FC236}">
                    <a16:creationId xmlns:a16="http://schemas.microsoft.com/office/drawing/2014/main" id="{3231D014-2AB6-4089-BEAE-988D6D9ADA1C}"/>
                  </a:ext>
                </a:extLst>
              </p:cNvPr>
              <p:cNvSpPr txBox="1"/>
              <p:nvPr/>
            </p:nvSpPr>
            <p:spPr>
              <a:xfrm>
                <a:off x="8018874" y="4875822"/>
                <a:ext cx="520975"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61.64</a:t>
                </a:r>
              </a:p>
            </p:txBody>
          </p:sp>
          <p:sp>
            <p:nvSpPr>
              <p:cNvPr id="28" name="g">
                <a:extLst>
                  <a:ext uri="{FF2B5EF4-FFF2-40B4-BE49-F238E27FC236}">
                    <a16:creationId xmlns:a16="http://schemas.microsoft.com/office/drawing/2014/main" id="{7EC6E127-B6F7-4B91-85C1-7ED1C3D14D84}"/>
                  </a:ext>
                </a:extLst>
              </p:cNvPr>
              <p:cNvSpPr/>
              <p:nvPr/>
            </p:nvSpPr>
            <p:spPr bwMode="auto">
              <a:xfrm>
                <a:off x="7894767" y="5151987"/>
                <a:ext cx="769196" cy="428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312FE39C-4F3E-4FAC-8199-6C083C7B1108}"/>
                  </a:ext>
                </a:extLst>
              </p:cNvPr>
              <p:cNvSpPr/>
              <p:nvPr/>
            </p:nvSpPr>
            <p:spPr bwMode="auto">
              <a:xfrm>
                <a:off x="9407134" y="2988471"/>
                <a:ext cx="769196" cy="2591696"/>
              </a:xfrm>
              <a:prstGeom prst="rect">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7AFECE8E-990C-4B4E-92CA-E0608665093A}"/>
                  </a:ext>
                </a:extLst>
              </p:cNvPr>
              <p:cNvSpPr txBox="1"/>
              <p:nvPr/>
            </p:nvSpPr>
            <p:spPr>
              <a:xfrm>
                <a:off x="9471938" y="2749840"/>
                <a:ext cx="639598" cy="193899"/>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mn-cs"/>
                  </a:rPr>
                  <a:t>$390.97</a:t>
                </a:r>
              </a:p>
            </p:txBody>
          </p:sp>
          <p:sp>
            <p:nvSpPr>
              <p:cNvPr id="33" name="Rectangle 14">
                <a:extLst>
                  <a:ext uri="{FF2B5EF4-FFF2-40B4-BE49-F238E27FC236}">
                    <a16:creationId xmlns:a16="http://schemas.microsoft.com/office/drawing/2014/main" id="{92690652-F8D9-4821-ADEE-9F86F9A8165C}"/>
                  </a:ext>
                </a:extLst>
              </p:cNvPr>
              <p:cNvSpPr/>
              <p:nvPr/>
            </p:nvSpPr>
            <p:spPr bwMode="auto">
              <a:xfrm>
                <a:off x="8279423" y="2991486"/>
                <a:ext cx="1127711" cy="175026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noFill/>
              <a:ln w="6350">
                <a:gradFill flip="none" rotWithShape="1">
                  <a:gsLst>
                    <a:gs pos="0">
                      <a:srgbClr val="0078D4"/>
                    </a:gs>
                    <a:gs pos="100000">
                      <a:srgbClr val="50E6FF"/>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ED91DA6-2F1A-455D-8B76-1A3A55EC063E}"/>
                  </a:ext>
                </a:extLst>
              </p:cNvPr>
              <p:cNvSpPr txBox="1"/>
              <p:nvPr/>
            </p:nvSpPr>
            <p:spPr>
              <a:xfrm>
                <a:off x="8040378" y="3552685"/>
                <a:ext cx="478494" cy="517065"/>
              </a:xfrm>
              <a:prstGeom prst="rect">
                <a:avLst/>
              </a:prstGeom>
              <a:solidFill>
                <a:srgbClr val="000000"/>
              </a:solidFill>
              <a:ln>
                <a:no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84%</a:t>
                </a:r>
                <a:br>
                  <a:rPr kumimoji="0" lang="en-US" sz="1200" b="1" i="0" u="none" strike="noStrike" kern="1200" cap="none" spc="0" normalizeH="0" baseline="0" noProof="0">
                    <a:ln>
                      <a:noFill/>
                    </a:ln>
                    <a:solidFill>
                      <a:srgbClr val="FFFFFF"/>
                    </a:solidFill>
                    <a:effectLst/>
                    <a:uLnTx/>
                    <a:uFillTx/>
                    <a:latin typeface="Segoe UI Semibold"/>
                    <a:ea typeface="+mn-ea"/>
                    <a:cs typeface="+mn-cs"/>
                  </a:rPr>
                </a:br>
                <a:r>
                  <a:rPr kumimoji="0" lang="en-US" sz="1200" b="1" i="0" u="none" strike="noStrike" kern="1200" cap="none" spc="0" normalizeH="0" baseline="0" noProof="0">
                    <a:ln>
                      <a:noFill/>
                    </a:ln>
                    <a:solidFill>
                      <a:srgbClr val="FFFFFF"/>
                    </a:solidFill>
                    <a:effectLst/>
                    <a:uLnTx/>
                    <a:uFillTx/>
                    <a:latin typeface="Segoe UI Semibold"/>
                    <a:ea typeface="+mn-ea"/>
                    <a:cs typeface="+mn-cs"/>
                  </a:rPr>
                  <a:t>less</a:t>
                </a:r>
              </a:p>
            </p:txBody>
          </p:sp>
          <p:sp>
            <p:nvSpPr>
              <p:cNvPr id="39" name="TextBox 38">
                <a:extLst>
                  <a:ext uri="{FF2B5EF4-FFF2-40B4-BE49-F238E27FC236}">
                    <a16:creationId xmlns:a16="http://schemas.microsoft.com/office/drawing/2014/main" id="{CE0EDDC0-BE6E-47EA-901C-C1DCB70FD3E9}"/>
                  </a:ext>
                </a:extLst>
              </p:cNvPr>
              <p:cNvSpPr txBox="1"/>
              <p:nvPr/>
            </p:nvSpPr>
            <p:spPr>
              <a:xfrm rot="16200000">
                <a:off x="6883093" y="4201220"/>
                <a:ext cx="1334148"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Semibold"/>
                    <a:ea typeface="+mn-ea"/>
                    <a:cs typeface="+mn-cs"/>
                  </a:rPr>
                  <a:t>3-year pricing / </a:t>
                </a:r>
                <a:r>
                  <a:rPr kumimoji="0" lang="en-US" sz="1200" b="1" i="0" u="none" strike="noStrike" kern="1200" cap="none" spc="0" normalizeH="0" baseline="0" noProof="0" err="1">
                    <a:ln>
                      <a:noFill/>
                    </a:ln>
                    <a:solidFill>
                      <a:srgbClr val="FFFFFF"/>
                    </a:solidFill>
                    <a:effectLst/>
                    <a:uLnTx/>
                    <a:uFillTx/>
                    <a:latin typeface="Segoe UI Semibold"/>
                    <a:ea typeface="+mn-ea"/>
                    <a:cs typeface="+mn-cs"/>
                  </a:rPr>
                  <a:t>tps</a:t>
                </a: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77" name="Group 76">
              <a:extLst>
                <a:ext uri="{FF2B5EF4-FFF2-40B4-BE49-F238E27FC236}">
                  <a16:creationId xmlns:a16="http://schemas.microsoft.com/office/drawing/2014/main" id="{A176FD73-F5C1-4699-AADA-FA1014DCD56D}"/>
                </a:ext>
              </a:extLst>
            </p:cNvPr>
            <p:cNvGrpSpPr/>
            <p:nvPr/>
          </p:nvGrpSpPr>
          <p:grpSpPr>
            <a:xfrm>
              <a:off x="7842112" y="5561160"/>
              <a:ext cx="864950" cy="242318"/>
              <a:chOff x="1168223" y="5056810"/>
              <a:chExt cx="1489177" cy="417197"/>
            </a:xfrm>
          </p:grpSpPr>
          <p:sp>
            <p:nvSpPr>
              <p:cNvPr id="78" name="Freeform: Shape 77">
                <a:extLst>
                  <a:ext uri="{FF2B5EF4-FFF2-40B4-BE49-F238E27FC236}">
                    <a16:creationId xmlns:a16="http://schemas.microsoft.com/office/drawing/2014/main" id="{55FD6DFC-8FE6-47C7-A173-7A98222FEF33}"/>
                  </a:ext>
                </a:extLst>
              </p:cNvPr>
              <p:cNvSpPr/>
              <p:nvPr/>
            </p:nvSpPr>
            <p:spPr>
              <a:xfrm>
                <a:off x="1684508" y="5303975"/>
                <a:ext cx="157645" cy="168906"/>
              </a:xfrm>
              <a:custGeom>
                <a:avLst/>
                <a:gdLst>
                  <a:gd name="connsiteX0" fmla="*/ 108072 w 173908"/>
                  <a:gd name="connsiteY0" fmla="*/ 0 h 186331"/>
                  <a:gd name="connsiteX1" fmla="*/ 178877 w 173908"/>
                  <a:gd name="connsiteY1" fmla="*/ 188195 h 186331"/>
                  <a:gd name="connsiteX2" fmla="*/ 142853 w 173908"/>
                  <a:gd name="connsiteY2" fmla="*/ 188195 h 186331"/>
                  <a:gd name="connsiteX3" fmla="*/ 126084 w 173908"/>
                  <a:gd name="connsiteY3" fmla="*/ 141612 h 186331"/>
                  <a:gd name="connsiteX4" fmla="*/ 52173 w 173908"/>
                  <a:gd name="connsiteY4" fmla="*/ 141612 h 186331"/>
                  <a:gd name="connsiteX5" fmla="*/ 36024 w 173908"/>
                  <a:gd name="connsiteY5" fmla="*/ 188195 h 186331"/>
                  <a:gd name="connsiteX6" fmla="*/ 0 w 173908"/>
                  <a:gd name="connsiteY6" fmla="*/ 188195 h 186331"/>
                  <a:gd name="connsiteX7" fmla="*/ 70806 w 173908"/>
                  <a:gd name="connsiteY7" fmla="*/ 0 h 186331"/>
                  <a:gd name="connsiteX8" fmla="*/ 108072 w 173908"/>
                  <a:gd name="connsiteY8" fmla="*/ 0 h 186331"/>
                  <a:gd name="connsiteX9" fmla="*/ 88818 w 173908"/>
                  <a:gd name="connsiteY9" fmla="*/ 34782 h 186331"/>
                  <a:gd name="connsiteX10" fmla="*/ 60868 w 173908"/>
                  <a:gd name="connsiteY10" fmla="*/ 114283 h 186331"/>
                  <a:gd name="connsiteX11" fmla="*/ 117388 w 173908"/>
                  <a:gd name="connsiteY11" fmla="*/ 114283 h 186331"/>
                  <a:gd name="connsiteX12" fmla="*/ 89439 w 173908"/>
                  <a:gd name="connsiteY12" fmla="*/ 34782 h 186331"/>
                  <a:gd name="connsiteX13" fmla="*/ 88818 w 173908"/>
                  <a:gd name="connsiteY13" fmla="*/ 34782 h 18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08" h="186331">
                    <a:moveTo>
                      <a:pt x="108072" y="0"/>
                    </a:moveTo>
                    <a:lnTo>
                      <a:pt x="178877" y="188195"/>
                    </a:lnTo>
                    <a:lnTo>
                      <a:pt x="142853" y="188195"/>
                    </a:lnTo>
                    <a:lnTo>
                      <a:pt x="126084" y="141612"/>
                    </a:lnTo>
                    <a:lnTo>
                      <a:pt x="52173" y="141612"/>
                    </a:lnTo>
                    <a:lnTo>
                      <a:pt x="36024" y="188195"/>
                    </a:lnTo>
                    <a:lnTo>
                      <a:pt x="0" y="188195"/>
                    </a:lnTo>
                    <a:lnTo>
                      <a:pt x="70806" y="0"/>
                    </a:lnTo>
                    <a:lnTo>
                      <a:pt x="108072" y="0"/>
                    </a:lnTo>
                    <a:close/>
                    <a:moveTo>
                      <a:pt x="88818" y="34782"/>
                    </a:moveTo>
                    <a:lnTo>
                      <a:pt x="60868" y="114283"/>
                    </a:lnTo>
                    <a:lnTo>
                      <a:pt x="117388" y="114283"/>
                    </a:lnTo>
                    <a:lnTo>
                      <a:pt x="89439" y="34782"/>
                    </a:lnTo>
                    <a:lnTo>
                      <a:pt x="88818" y="34782"/>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D7BF6B30-D9BD-4F97-A963-B10EA411FA13}"/>
                  </a:ext>
                </a:extLst>
              </p:cNvPr>
              <p:cNvSpPr/>
              <p:nvPr/>
            </p:nvSpPr>
            <p:spPr>
              <a:xfrm>
                <a:off x="1857355" y="5352395"/>
                <a:ext cx="101343" cy="118234"/>
              </a:xfrm>
              <a:custGeom>
                <a:avLst/>
                <a:gdLst>
                  <a:gd name="connsiteX0" fmla="*/ 4348 w 111798"/>
                  <a:gd name="connsiteY0" fmla="*/ 0 h 130432"/>
                  <a:gd name="connsiteX1" fmla="*/ 112419 w 111798"/>
                  <a:gd name="connsiteY1" fmla="*/ 0 h 130432"/>
                  <a:gd name="connsiteX2" fmla="*/ 112419 w 111798"/>
                  <a:gd name="connsiteY2" fmla="*/ 13043 h 130432"/>
                  <a:gd name="connsiteX3" fmla="*/ 41614 w 111798"/>
                  <a:gd name="connsiteY3" fmla="*/ 109936 h 130432"/>
                  <a:gd name="connsiteX4" fmla="*/ 113041 w 111798"/>
                  <a:gd name="connsiteY4" fmla="*/ 109936 h 130432"/>
                  <a:gd name="connsiteX5" fmla="*/ 113041 w 111798"/>
                  <a:gd name="connsiteY5" fmla="*/ 135401 h 130432"/>
                  <a:gd name="connsiteX6" fmla="*/ 0 w 111798"/>
                  <a:gd name="connsiteY6" fmla="*/ 135401 h 130432"/>
                  <a:gd name="connsiteX7" fmla="*/ 0 w 111798"/>
                  <a:gd name="connsiteY7" fmla="*/ 120494 h 130432"/>
                  <a:gd name="connsiteX8" fmla="*/ 69563 w 111798"/>
                  <a:gd name="connsiteY8" fmla="*/ 26086 h 130432"/>
                  <a:gd name="connsiteX9" fmla="*/ 4969 w 111798"/>
                  <a:gd name="connsiteY9" fmla="*/ 26086 h 130432"/>
                  <a:gd name="connsiteX10" fmla="*/ 4969 w 111798"/>
                  <a:gd name="connsiteY10"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98" h="130432">
                    <a:moveTo>
                      <a:pt x="4348" y="0"/>
                    </a:moveTo>
                    <a:lnTo>
                      <a:pt x="112419" y="0"/>
                    </a:lnTo>
                    <a:lnTo>
                      <a:pt x="112419" y="13043"/>
                    </a:lnTo>
                    <a:lnTo>
                      <a:pt x="41614" y="109936"/>
                    </a:lnTo>
                    <a:lnTo>
                      <a:pt x="113041" y="109936"/>
                    </a:lnTo>
                    <a:lnTo>
                      <a:pt x="113041" y="135401"/>
                    </a:lnTo>
                    <a:lnTo>
                      <a:pt x="0" y="135401"/>
                    </a:lnTo>
                    <a:lnTo>
                      <a:pt x="0" y="120494"/>
                    </a:lnTo>
                    <a:lnTo>
                      <a:pt x="69563" y="26086"/>
                    </a:lnTo>
                    <a:lnTo>
                      <a:pt x="4969" y="26086"/>
                    </a:lnTo>
                    <a:lnTo>
                      <a:pt x="4969"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B0A15B83-41F9-43A6-A4AC-18ED7DA5C39A}"/>
                  </a:ext>
                </a:extLst>
              </p:cNvPr>
              <p:cNvSpPr/>
              <p:nvPr/>
            </p:nvSpPr>
            <p:spPr>
              <a:xfrm>
                <a:off x="1971647" y="5352395"/>
                <a:ext cx="106973" cy="118234"/>
              </a:xfrm>
              <a:custGeom>
                <a:avLst/>
                <a:gdLst>
                  <a:gd name="connsiteX0" fmla="*/ 121736 w 118009"/>
                  <a:gd name="connsiteY0" fmla="*/ 0 h 130432"/>
                  <a:gd name="connsiteX1" fmla="*/ 121736 w 118009"/>
                  <a:gd name="connsiteY1" fmla="*/ 134780 h 130432"/>
                  <a:gd name="connsiteX2" fmla="*/ 89439 w 118009"/>
                  <a:gd name="connsiteY2" fmla="*/ 134780 h 130432"/>
                  <a:gd name="connsiteX3" fmla="*/ 89439 w 118009"/>
                  <a:gd name="connsiteY3" fmla="*/ 116768 h 130432"/>
                  <a:gd name="connsiteX4" fmla="*/ 88818 w 118009"/>
                  <a:gd name="connsiteY4" fmla="*/ 116768 h 130432"/>
                  <a:gd name="connsiteX5" fmla="*/ 72048 w 118009"/>
                  <a:gd name="connsiteY5" fmla="*/ 131053 h 130432"/>
                  <a:gd name="connsiteX6" fmla="*/ 48446 w 118009"/>
                  <a:gd name="connsiteY6" fmla="*/ 136022 h 130432"/>
                  <a:gd name="connsiteX7" fmla="*/ 12422 w 118009"/>
                  <a:gd name="connsiteY7" fmla="*/ 122979 h 130432"/>
                  <a:gd name="connsiteX8" fmla="*/ 0 w 118009"/>
                  <a:gd name="connsiteY8" fmla="*/ 81365 h 130432"/>
                  <a:gd name="connsiteX9" fmla="*/ 0 w 118009"/>
                  <a:gd name="connsiteY9" fmla="*/ 0 h 130432"/>
                  <a:gd name="connsiteX10" fmla="*/ 32297 w 118009"/>
                  <a:gd name="connsiteY10" fmla="*/ 0 h 130432"/>
                  <a:gd name="connsiteX11" fmla="*/ 32297 w 118009"/>
                  <a:gd name="connsiteY11" fmla="*/ 78259 h 130432"/>
                  <a:gd name="connsiteX12" fmla="*/ 39129 w 118009"/>
                  <a:gd name="connsiteY12" fmla="*/ 103725 h 130432"/>
                  <a:gd name="connsiteX13" fmla="*/ 59626 w 118009"/>
                  <a:gd name="connsiteY13" fmla="*/ 112420 h 130432"/>
                  <a:gd name="connsiteX14" fmla="*/ 81364 w 118009"/>
                  <a:gd name="connsiteY14" fmla="*/ 103103 h 130432"/>
                  <a:gd name="connsiteX15" fmla="*/ 89439 w 118009"/>
                  <a:gd name="connsiteY15" fmla="*/ 78259 h 130432"/>
                  <a:gd name="connsiteX16" fmla="*/ 89439 w 118009"/>
                  <a:gd name="connsiteY16" fmla="*/ 0 h 130432"/>
                  <a:gd name="connsiteX17" fmla="*/ 121736 w 118009"/>
                  <a:gd name="connsiteY17" fmla="*/ 0 h 1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09" h="130432">
                    <a:moveTo>
                      <a:pt x="121736" y="0"/>
                    </a:moveTo>
                    <a:lnTo>
                      <a:pt x="121736" y="134780"/>
                    </a:lnTo>
                    <a:lnTo>
                      <a:pt x="89439" y="134780"/>
                    </a:lnTo>
                    <a:lnTo>
                      <a:pt x="89439" y="116768"/>
                    </a:lnTo>
                    <a:lnTo>
                      <a:pt x="88818" y="116768"/>
                    </a:lnTo>
                    <a:cubicBezTo>
                      <a:pt x="84470" y="122979"/>
                      <a:pt x="78880" y="127948"/>
                      <a:pt x="72048" y="131053"/>
                    </a:cubicBezTo>
                    <a:cubicBezTo>
                      <a:pt x="65216" y="134780"/>
                      <a:pt x="57141" y="136022"/>
                      <a:pt x="48446" y="136022"/>
                    </a:cubicBezTo>
                    <a:cubicBezTo>
                      <a:pt x="32918" y="136022"/>
                      <a:pt x="21118" y="131674"/>
                      <a:pt x="12422" y="122979"/>
                    </a:cubicBezTo>
                    <a:cubicBezTo>
                      <a:pt x="4348" y="114283"/>
                      <a:pt x="0" y="99998"/>
                      <a:pt x="0" y="81365"/>
                    </a:cubicBezTo>
                    <a:lnTo>
                      <a:pt x="0" y="0"/>
                    </a:lnTo>
                    <a:lnTo>
                      <a:pt x="32297" y="0"/>
                    </a:lnTo>
                    <a:lnTo>
                      <a:pt x="32297" y="78259"/>
                    </a:lnTo>
                    <a:cubicBezTo>
                      <a:pt x="32297" y="89439"/>
                      <a:pt x="34782" y="98135"/>
                      <a:pt x="39129" y="103725"/>
                    </a:cubicBezTo>
                    <a:cubicBezTo>
                      <a:pt x="43477" y="109315"/>
                      <a:pt x="50309" y="112420"/>
                      <a:pt x="59626" y="112420"/>
                    </a:cubicBezTo>
                    <a:cubicBezTo>
                      <a:pt x="68942" y="112420"/>
                      <a:pt x="75774" y="109315"/>
                      <a:pt x="81364" y="103103"/>
                    </a:cubicBezTo>
                    <a:cubicBezTo>
                      <a:pt x="86954" y="96892"/>
                      <a:pt x="89439" y="88197"/>
                      <a:pt x="89439" y="78259"/>
                    </a:cubicBezTo>
                    <a:lnTo>
                      <a:pt x="89439" y="0"/>
                    </a:lnTo>
                    <a:lnTo>
                      <a:pt x="121736" y="0"/>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50F89136-1B22-4F7B-8669-7C30BEF93687}"/>
                  </a:ext>
                </a:extLst>
              </p:cNvPr>
              <p:cNvSpPr/>
              <p:nvPr/>
            </p:nvSpPr>
            <p:spPr>
              <a:xfrm>
                <a:off x="2108460" y="5350143"/>
                <a:ext cx="67562" cy="123864"/>
              </a:xfrm>
              <a:custGeom>
                <a:avLst/>
                <a:gdLst>
                  <a:gd name="connsiteX0" fmla="*/ 66458 w 74532"/>
                  <a:gd name="connsiteY0" fmla="*/ 0 h 136643"/>
                  <a:gd name="connsiteX1" fmla="*/ 73290 w 74532"/>
                  <a:gd name="connsiteY1" fmla="*/ 621 h 136643"/>
                  <a:gd name="connsiteX2" fmla="*/ 78259 w 74532"/>
                  <a:gd name="connsiteY2" fmla="*/ 1863 h 136643"/>
                  <a:gd name="connsiteX3" fmla="*/ 78259 w 74532"/>
                  <a:gd name="connsiteY3" fmla="*/ 34161 h 136643"/>
                  <a:gd name="connsiteX4" fmla="*/ 70806 w 74532"/>
                  <a:gd name="connsiteY4" fmla="*/ 30434 h 136643"/>
                  <a:gd name="connsiteX5" fmla="*/ 59005 w 74532"/>
                  <a:gd name="connsiteY5" fmla="*/ 28571 h 136643"/>
                  <a:gd name="connsiteX6" fmla="*/ 39129 w 74532"/>
                  <a:gd name="connsiteY6" fmla="*/ 38509 h 136643"/>
                  <a:gd name="connsiteX7" fmla="*/ 31055 w 74532"/>
                  <a:gd name="connsiteY7" fmla="*/ 68943 h 136643"/>
                  <a:gd name="connsiteX8" fmla="*/ 31055 w 74532"/>
                  <a:gd name="connsiteY8" fmla="*/ 137264 h 136643"/>
                  <a:gd name="connsiteX9" fmla="*/ 0 w 74532"/>
                  <a:gd name="connsiteY9" fmla="*/ 137264 h 136643"/>
                  <a:gd name="connsiteX10" fmla="*/ 0 w 74532"/>
                  <a:gd name="connsiteY10" fmla="*/ 2484 h 136643"/>
                  <a:gd name="connsiteX11" fmla="*/ 31676 w 74532"/>
                  <a:gd name="connsiteY11" fmla="*/ 2484 h 136643"/>
                  <a:gd name="connsiteX12" fmla="*/ 31676 w 74532"/>
                  <a:gd name="connsiteY12" fmla="*/ 23602 h 136643"/>
                  <a:gd name="connsiteX13" fmla="*/ 32297 w 74532"/>
                  <a:gd name="connsiteY13" fmla="*/ 23602 h 136643"/>
                  <a:gd name="connsiteX14" fmla="*/ 45340 w 74532"/>
                  <a:gd name="connsiteY14" fmla="*/ 6211 h 136643"/>
                  <a:gd name="connsiteX15" fmla="*/ 66458 w 74532"/>
                  <a:gd name="connsiteY15" fmla="*/ 0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532" h="136643">
                    <a:moveTo>
                      <a:pt x="66458" y="0"/>
                    </a:moveTo>
                    <a:cubicBezTo>
                      <a:pt x="68942" y="0"/>
                      <a:pt x="71427" y="0"/>
                      <a:pt x="73290" y="621"/>
                    </a:cubicBezTo>
                    <a:cubicBezTo>
                      <a:pt x="75153" y="1242"/>
                      <a:pt x="77017" y="1242"/>
                      <a:pt x="78259" y="1863"/>
                    </a:cubicBezTo>
                    <a:lnTo>
                      <a:pt x="78259" y="34161"/>
                    </a:lnTo>
                    <a:cubicBezTo>
                      <a:pt x="76396" y="32919"/>
                      <a:pt x="73911" y="31676"/>
                      <a:pt x="70806" y="30434"/>
                    </a:cubicBezTo>
                    <a:cubicBezTo>
                      <a:pt x="67700" y="29192"/>
                      <a:pt x="63974" y="28571"/>
                      <a:pt x="59005" y="28571"/>
                    </a:cubicBezTo>
                    <a:cubicBezTo>
                      <a:pt x="50930" y="28571"/>
                      <a:pt x="44719" y="31676"/>
                      <a:pt x="39129" y="38509"/>
                    </a:cubicBezTo>
                    <a:cubicBezTo>
                      <a:pt x="33539" y="45341"/>
                      <a:pt x="31055" y="55278"/>
                      <a:pt x="31055" y="68943"/>
                    </a:cubicBezTo>
                    <a:lnTo>
                      <a:pt x="31055" y="137264"/>
                    </a:lnTo>
                    <a:lnTo>
                      <a:pt x="0" y="137264"/>
                    </a:lnTo>
                    <a:lnTo>
                      <a:pt x="0" y="2484"/>
                    </a:lnTo>
                    <a:lnTo>
                      <a:pt x="31676" y="2484"/>
                    </a:lnTo>
                    <a:lnTo>
                      <a:pt x="31676" y="23602"/>
                    </a:lnTo>
                    <a:lnTo>
                      <a:pt x="32297" y="23602"/>
                    </a:lnTo>
                    <a:cubicBezTo>
                      <a:pt x="35403" y="16149"/>
                      <a:pt x="39750" y="10559"/>
                      <a:pt x="45340" y="6211"/>
                    </a:cubicBezTo>
                    <a:cubicBezTo>
                      <a:pt x="51551" y="2484"/>
                      <a:pt x="58384" y="0"/>
                      <a:pt x="66458" y="0"/>
                    </a:cubicBez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9F079688-6CCB-4D6F-B819-C3D51AE816FB}"/>
                  </a:ext>
                </a:extLst>
              </p:cNvPr>
              <p:cNvSpPr/>
              <p:nvPr/>
            </p:nvSpPr>
            <p:spPr>
              <a:xfrm>
                <a:off x="2181089" y="5350143"/>
                <a:ext cx="106973" cy="123864"/>
              </a:xfrm>
              <a:custGeom>
                <a:avLst/>
                <a:gdLst>
                  <a:gd name="connsiteX0" fmla="*/ 113041 w 118009"/>
                  <a:gd name="connsiteY0" fmla="*/ 103725 h 136643"/>
                  <a:gd name="connsiteX1" fmla="*/ 113041 w 118009"/>
                  <a:gd name="connsiteY1" fmla="*/ 129811 h 136643"/>
                  <a:gd name="connsiteX2" fmla="*/ 92544 w 118009"/>
                  <a:gd name="connsiteY2" fmla="*/ 137885 h 136643"/>
                  <a:gd name="connsiteX3" fmla="*/ 65216 w 118009"/>
                  <a:gd name="connsiteY3" fmla="*/ 140991 h 136643"/>
                  <a:gd name="connsiteX4" fmla="*/ 17391 w 118009"/>
                  <a:gd name="connsiteY4" fmla="*/ 122979 h 136643"/>
                  <a:gd name="connsiteX5" fmla="*/ 0 w 118009"/>
                  <a:gd name="connsiteY5" fmla="*/ 72048 h 136643"/>
                  <a:gd name="connsiteX6" fmla="*/ 18012 w 118009"/>
                  <a:gd name="connsiteY6" fmla="*/ 20496 h 136643"/>
                  <a:gd name="connsiteX7" fmla="*/ 64595 w 118009"/>
                  <a:gd name="connsiteY7" fmla="*/ 0 h 136643"/>
                  <a:gd name="connsiteX8" fmla="*/ 108072 w 118009"/>
                  <a:gd name="connsiteY8" fmla="*/ 17391 h 136643"/>
                  <a:gd name="connsiteX9" fmla="*/ 123599 w 118009"/>
                  <a:gd name="connsiteY9" fmla="*/ 64595 h 136643"/>
                  <a:gd name="connsiteX10" fmla="*/ 123599 w 118009"/>
                  <a:gd name="connsiteY10" fmla="*/ 80123 h 136643"/>
                  <a:gd name="connsiteX11" fmla="*/ 31055 w 118009"/>
                  <a:gd name="connsiteY11" fmla="*/ 80123 h 136643"/>
                  <a:gd name="connsiteX12" fmla="*/ 44098 w 118009"/>
                  <a:gd name="connsiteY12" fmla="*/ 108693 h 136643"/>
                  <a:gd name="connsiteX13" fmla="*/ 72669 w 118009"/>
                  <a:gd name="connsiteY13" fmla="*/ 116768 h 136643"/>
                  <a:gd name="connsiteX14" fmla="*/ 94408 w 118009"/>
                  <a:gd name="connsiteY14" fmla="*/ 113041 h 136643"/>
                  <a:gd name="connsiteX15" fmla="*/ 113041 w 118009"/>
                  <a:gd name="connsiteY15" fmla="*/ 103725 h 136643"/>
                  <a:gd name="connsiteX16" fmla="*/ 92544 w 118009"/>
                  <a:gd name="connsiteY16" fmla="*/ 56521 h 136643"/>
                  <a:gd name="connsiteX17" fmla="*/ 85091 w 118009"/>
                  <a:gd name="connsiteY17" fmla="*/ 32297 h 136643"/>
                  <a:gd name="connsiteX18" fmla="*/ 64595 w 118009"/>
                  <a:gd name="connsiteY18" fmla="*/ 24223 h 136643"/>
                  <a:gd name="connsiteX19" fmla="*/ 44098 w 118009"/>
                  <a:gd name="connsiteY19" fmla="*/ 32297 h 136643"/>
                  <a:gd name="connsiteX20" fmla="*/ 32297 w 118009"/>
                  <a:gd name="connsiteY20" fmla="*/ 56521 h 136643"/>
                  <a:gd name="connsiteX21" fmla="*/ 92544 w 118009"/>
                  <a:gd name="connsiteY21" fmla="*/ 56521 h 13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9" h="136643">
                    <a:moveTo>
                      <a:pt x="113041" y="103725"/>
                    </a:moveTo>
                    <a:lnTo>
                      <a:pt x="113041" y="129811"/>
                    </a:lnTo>
                    <a:cubicBezTo>
                      <a:pt x="108072" y="132917"/>
                      <a:pt x="100619" y="136022"/>
                      <a:pt x="92544" y="137885"/>
                    </a:cubicBezTo>
                    <a:cubicBezTo>
                      <a:pt x="83849" y="139749"/>
                      <a:pt x="75153" y="140991"/>
                      <a:pt x="65216" y="140991"/>
                    </a:cubicBezTo>
                    <a:cubicBezTo>
                      <a:pt x="44719" y="140991"/>
                      <a:pt x="28571" y="134780"/>
                      <a:pt x="17391" y="122979"/>
                    </a:cubicBezTo>
                    <a:cubicBezTo>
                      <a:pt x="6211" y="111178"/>
                      <a:pt x="0" y="93787"/>
                      <a:pt x="0" y="72048"/>
                    </a:cubicBezTo>
                    <a:cubicBezTo>
                      <a:pt x="0" y="50931"/>
                      <a:pt x="6211" y="34161"/>
                      <a:pt x="18012" y="20496"/>
                    </a:cubicBezTo>
                    <a:cubicBezTo>
                      <a:pt x="29813" y="6832"/>
                      <a:pt x="45962" y="0"/>
                      <a:pt x="64595" y="0"/>
                    </a:cubicBezTo>
                    <a:cubicBezTo>
                      <a:pt x="83228" y="0"/>
                      <a:pt x="97513" y="5590"/>
                      <a:pt x="108072" y="17391"/>
                    </a:cubicBezTo>
                    <a:cubicBezTo>
                      <a:pt x="118631" y="28571"/>
                      <a:pt x="123599" y="44720"/>
                      <a:pt x="123599" y="64595"/>
                    </a:cubicBezTo>
                    <a:lnTo>
                      <a:pt x="123599" y="80123"/>
                    </a:lnTo>
                    <a:lnTo>
                      <a:pt x="31055" y="80123"/>
                    </a:lnTo>
                    <a:cubicBezTo>
                      <a:pt x="32297" y="93787"/>
                      <a:pt x="36645" y="103103"/>
                      <a:pt x="44098" y="108693"/>
                    </a:cubicBezTo>
                    <a:cubicBezTo>
                      <a:pt x="51551" y="114283"/>
                      <a:pt x="60868" y="116768"/>
                      <a:pt x="72669" y="116768"/>
                    </a:cubicBezTo>
                    <a:cubicBezTo>
                      <a:pt x="80122" y="116768"/>
                      <a:pt x="87575" y="115526"/>
                      <a:pt x="94408" y="113041"/>
                    </a:cubicBezTo>
                    <a:cubicBezTo>
                      <a:pt x="101240" y="110557"/>
                      <a:pt x="107451" y="107451"/>
                      <a:pt x="113041" y="103725"/>
                    </a:cubicBezTo>
                    <a:close/>
                    <a:moveTo>
                      <a:pt x="92544" y="56521"/>
                    </a:moveTo>
                    <a:cubicBezTo>
                      <a:pt x="92544" y="45962"/>
                      <a:pt x="90060" y="37887"/>
                      <a:pt x="85091" y="32297"/>
                    </a:cubicBezTo>
                    <a:cubicBezTo>
                      <a:pt x="80122" y="26708"/>
                      <a:pt x="73290" y="24223"/>
                      <a:pt x="64595" y="24223"/>
                    </a:cubicBezTo>
                    <a:cubicBezTo>
                      <a:pt x="57141" y="24223"/>
                      <a:pt x="50309" y="26708"/>
                      <a:pt x="44098" y="32297"/>
                    </a:cubicBezTo>
                    <a:cubicBezTo>
                      <a:pt x="37887" y="37887"/>
                      <a:pt x="34161" y="45962"/>
                      <a:pt x="32297" y="56521"/>
                    </a:cubicBezTo>
                    <a:lnTo>
                      <a:pt x="92544" y="56521"/>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71339536-30AE-427E-9C81-D181BCB2DCAC}"/>
                  </a:ext>
                </a:extLst>
              </p:cNvPr>
              <p:cNvSpPr/>
              <p:nvPr/>
            </p:nvSpPr>
            <p:spPr>
              <a:xfrm>
                <a:off x="1694643" y="5056810"/>
                <a:ext cx="962757" cy="185796"/>
              </a:xfrm>
              <a:custGeom>
                <a:avLst/>
                <a:gdLst>
                  <a:gd name="connsiteX0" fmla="*/ 204343 w 1062084"/>
                  <a:gd name="connsiteY0" fmla="*/ 13664 h 204964"/>
                  <a:gd name="connsiteX1" fmla="*/ 204343 w 1062084"/>
                  <a:gd name="connsiteY1" fmla="*/ 201859 h 204964"/>
                  <a:gd name="connsiteX2" fmla="*/ 171424 w 1062084"/>
                  <a:gd name="connsiteY2" fmla="*/ 201859 h 204964"/>
                  <a:gd name="connsiteX3" fmla="*/ 171424 w 1062084"/>
                  <a:gd name="connsiteY3" fmla="*/ 54657 h 204964"/>
                  <a:gd name="connsiteX4" fmla="*/ 170803 w 1062084"/>
                  <a:gd name="connsiteY4" fmla="*/ 54657 h 204964"/>
                  <a:gd name="connsiteX5" fmla="*/ 112419 w 1062084"/>
                  <a:gd name="connsiteY5" fmla="*/ 202480 h 204964"/>
                  <a:gd name="connsiteX6" fmla="*/ 90681 w 1062084"/>
                  <a:gd name="connsiteY6" fmla="*/ 202480 h 204964"/>
                  <a:gd name="connsiteX7" fmla="*/ 31055 w 1062084"/>
                  <a:gd name="connsiteY7" fmla="*/ 54657 h 204964"/>
                  <a:gd name="connsiteX8" fmla="*/ 30434 w 1062084"/>
                  <a:gd name="connsiteY8" fmla="*/ 54657 h 204964"/>
                  <a:gd name="connsiteX9" fmla="*/ 30434 w 1062084"/>
                  <a:gd name="connsiteY9" fmla="*/ 202480 h 204964"/>
                  <a:gd name="connsiteX10" fmla="*/ 0 w 1062084"/>
                  <a:gd name="connsiteY10" fmla="*/ 202480 h 204964"/>
                  <a:gd name="connsiteX11" fmla="*/ 0 w 1062084"/>
                  <a:gd name="connsiteY11" fmla="*/ 13664 h 204964"/>
                  <a:gd name="connsiteX12" fmla="*/ 46583 w 1062084"/>
                  <a:gd name="connsiteY12" fmla="*/ 13664 h 204964"/>
                  <a:gd name="connsiteX13" fmla="*/ 100618 w 1062084"/>
                  <a:gd name="connsiteY13" fmla="*/ 153413 h 204964"/>
                  <a:gd name="connsiteX14" fmla="*/ 101240 w 1062084"/>
                  <a:gd name="connsiteY14" fmla="*/ 153413 h 204964"/>
                  <a:gd name="connsiteX15" fmla="*/ 158381 w 1062084"/>
                  <a:gd name="connsiteY15" fmla="*/ 13664 h 204964"/>
                  <a:gd name="connsiteX16" fmla="*/ 204343 w 1062084"/>
                  <a:gd name="connsiteY16" fmla="*/ 13664 h 204964"/>
                  <a:gd name="connsiteX17" fmla="*/ 231671 w 1062084"/>
                  <a:gd name="connsiteY17" fmla="*/ 27950 h 204964"/>
                  <a:gd name="connsiteX18" fmla="*/ 237261 w 1062084"/>
                  <a:gd name="connsiteY18" fmla="*/ 14907 h 204964"/>
                  <a:gd name="connsiteX19" fmla="*/ 250925 w 1062084"/>
                  <a:gd name="connsiteY19" fmla="*/ 9317 h 204964"/>
                  <a:gd name="connsiteX20" fmla="*/ 264589 w 1062084"/>
                  <a:gd name="connsiteY20" fmla="*/ 14907 h 204964"/>
                  <a:gd name="connsiteX21" fmla="*/ 270179 w 1062084"/>
                  <a:gd name="connsiteY21" fmla="*/ 27950 h 204964"/>
                  <a:gd name="connsiteX22" fmla="*/ 264589 w 1062084"/>
                  <a:gd name="connsiteY22" fmla="*/ 40993 h 204964"/>
                  <a:gd name="connsiteX23" fmla="*/ 250925 w 1062084"/>
                  <a:gd name="connsiteY23" fmla="*/ 45962 h 204964"/>
                  <a:gd name="connsiteX24" fmla="*/ 237261 w 1062084"/>
                  <a:gd name="connsiteY24" fmla="*/ 40372 h 204964"/>
                  <a:gd name="connsiteX25" fmla="*/ 231671 w 1062084"/>
                  <a:gd name="connsiteY25" fmla="*/ 27950 h 204964"/>
                  <a:gd name="connsiteX26" fmla="*/ 267074 w 1062084"/>
                  <a:gd name="connsiteY26" fmla="*/ 67079 h 204964"/>
                  <a:gd name="connsiteX27" fmla="*/ 267074 w 1062084"/>
                  <a:gd name="connsiteY27" fmla="*/ 201859 h 204964"/>
                  <a:gd name="connsiteX28" fmla="*/ 235398 w 1062084"/>
                  <a:gd name="connsiteY28" fmla="*/ 201859 h 204964"/>
                  <a:gd name="connsiteX29" fmla="*/ 235398 w 1062084"/>
                  <a:gd name="connsiteY29" fmla="*/ 67079 h 204964"/>
                  <a:gd name="connsiteX30" fmla="*/ 267074 w 1062084"/>
                  <a:gd name="connsiteY30" fmla="*/ 67079 h 204964"/>
                  <a:gd name="connsiteX31" fmla="*/ 363345 w 1062084"/>
                  <a:gd name="connsiteY31" fmla="*/ 178878 h 204964"/>
                  <a:gd name="connsiteX32" fmla="*/ 378872 w 1062084"/>
                  <a:gd name="connsiteY32" fmla="*/ 175773 h 204964"/>
                  <a:gd name="connsiteX33" fmla="*/ 394400 w 1062084"/>
                  <a:gd name="connsiteY33" fmla="*/ 167077 h 204964"/>
                  <a:gd name="connsiteX34" fmla="*/ 394400 w 1062084"/>
                  <a:gd name="connsiteY34" fmla="*/ 196890 h 204964"/>
                  <a:gd name="connsiteX35" fmla="*/ 377009 w 1062084"/>
                  <a:gd name="connsiteY35" fmla="*/ 203723 h 204964"/>
                  <a:gd name="connsiteX36" fmla="*/ 355891 w 1062084"/>
                  <a:gd name="connsiteY36" fmla="*/ 206207 h 204964"/>
                  <a:gd name="connsiteX37" fmla="*/ 307445 w 1062084"/>
                  <a:gd name="connsiteY37" fmla="*/ 187574 h 204964"/>
                  <a:gd name="connsiteX38" fmla="*/ 288812 w 1062084"/>
                  <a:gd name="connsiteY38" fmla="*/ 139749 h 204964"/>
                  <a:gd name="connsiteX39" fmla="*/ 308067 w 1062084"/>
                  <a:gd name="connsiteY39" fmla="*/ 86334 h 204964"/>
                  <a:gd name="connsiteX40" fmla="*/ 362102 w 1062084"/>
                  <a:gd name="connsiteY40" fmla="*/ 65216 h 204964"/>
                  <a:gd name="connsiteX41" fmla="*/ 380114 w 1062084"/>
                  <a:gd name="connsiteY41" fmla="*/ 67700 h 204964"/>
                  <a:gd name="connsiteX42" fmla="*/ 394400 w 1062084"/>
                  <a:gd name="connsiteY42" fmla="*/ 73290 h 204964"/>
                  <a:gd name="connsiteX43" fmla="*/ 394400 w 1062084"/>
                  <a:gd name="connsiteY43" fmla="*/ 103725 h 204964"/>
                  <a:gd name="connsiteX44" fmla="*/ 379493 w 1062084"/>
                  <a:gd name="connsiteY44" fmla="*/ 95650 h 204964"/>
                  <a:gd name="connsiteX45" fmla="*/ 363966 w 1062084"/>
                  <a:gd name="connsiteY45" fmla="*/ 92545 h 204964"/>
                  <a:gd name="connsiteX46" fmla="*/ 333532 w 1062084"/>
                  <a:gd name="connsiteY46" fmla="*/ 104967 h 204964"/>
                  <a:gd name="connsiteX47" fmla="*/ 321731 w 1062084"/>
                  <a:gd name="connsiteY47" fmla="*/ 137885 h 204964"/>
                  <a:gd name="connsiteX48" fmla="*/ 332911 w 1062084"/>
                  <a:gd name="connsiteY48" fmla="*/ 169562 h 204964"/>
                  <a:gd name="connsiteX49" fmla="*/ 363345 w 1062084"/>
                  <a:gd name="connsiteY49" fmla="*/ 178878 h 204964"/>
                  <a:gd name="connsiteX50" fmla="*/ 485081 w 1062084"/>
                  <a:gd name="connsiteY50" fmla="*/ 65216 h 204964"/>
                  <a:gd name="connsiteX51" fmla="*/ 491913 w 1062084"/>
                  <a:gd name="connsiteY51" fmla="*/ 65837 h 204964"/>
                  <a:gd name="connsiteX52" fmla="*/ 496882 w 1062084"/>
                  <a:gd name="connsiteY52" fmla="*/ 67079 h 204964"/>
                  <a:gd name="connsiteX53" fmla="*/ 496882 w 1062084"/>
                  <a:gd name="connsiteY53" fmla="*/ 99377 h 204964"/>
                  <a:gd name="connsiteX54" fmla="*/ 489428 w 1062084"/>
                  <a:gd name="connsiteY54" fmla="*/ 95650 h 204964"/>
                  <a:gd name="connsiteX55" fmla="*/ 477627 w 1062084"/>
                  <a:gd name="connsiteY55" fmla="*/ 93787 h 204964"/>
                  <a:gd name="connsiteX56" fmla="*/ 457752 w 1062084"/>
                  <a:gd name="connsiteY56" fmla="*/ 103725 h 204964"/>
                  <a:gd name="connsiteX57" fmla="*/ 449678 w 1062084"/>
                  <a:gd name="connsiteY57" fmla="*/ 134159 h 204964"/>
                  <a:gd name="connsiteX58" fmla="*/ 449678 w 1062084"/>
                  <a:gd name="connsiteY58" fmla="*/ 202480 h 204964"/>
                  <a:gd name="connsiteX59" fmla="*/ 418002 w 1062084"/>
                  <a:gd name="connsiteY59" fmla="*/ 202480 h 204964"/>
                  <a:gd name="connsiteX60" fmla="*/ 418002 w 1062084"/>
                  <a:gd name="connsiteY60" fmla="*/ 67079 h 204964"/>
                  <a:gd name="connsiteX61" fmla="*/ 449678 w 1062084"/>
                  <a:gd name="connsiteY61" fmla="*/ 67079 h 204964"/>
                  <a:gd name="connsiteX62" fmla="*/ 449678 w 1062084"/>
                  <a:gd name="connsiteY62" fmla="*/ 88197 h 204964"/>
                  <a:gd name="connsiteX63" fmla="*/ 450299 w 1062084"/>
                  <a:gd name="connsiteY63" fmla="*/ 88197 h 204964"/>
                  <a:gd name="connsiteX64" fmla="*/ 463342 w 1062084"/>
                  <a:gd name="connsiteY64" fmla="*/ 70806 h 204964"/>
                  <a:gd name="connsiteX65" fmla="*/ 485081 w 1062084"/>
                  <a:gd name="connsiteY65" fmla="*/ 65216 h 204964"/>
                  <a:gd name="connsiteX66" fmla="*/ 498745 w 1062084"/>
                  <a:gd name="connsiteY66" fmla="*/ 136643 h 204964"/>
                  <a:gd name="connsiteX67" fmla="*/ 517378 w 1062084"/>
                  <a:gd name="connsiteY67" fmla="*/ 83849 h 204964"/>
                  <a:gd name="connsiteX68" fmla="*/ 570172 w 1062084"/>
                  <a:gd name="connsiteY68" fmla="*/ 63974 h 204964"/>
                  <a:gd name="connsiteX69" fmla="*/ 619860 w 1062084"/>
                  <a:gd name="connsiteY69" fmla="*/ 82607 h 204964"/>
                  <a:gd name="connsiteX70" fmla="*/ 637872 w 1062084"/>
                  <a:gd name="connsiteY70" fmla="*/ 133538 h 204964"/>
                  <a:gd name="connsiteX71" fmla="*/ 619239 w 1062084"/>
                  <a:gd name="connsiteY71" fmla="*/ 185711 h 204964"/>
                  <a:gd name="connsiteX72" fmla="*/ 567687 w 1062084"/>
                  <a:gd name="connsiteY72" fmla="*/ 204965 h 204964"/>
                  <a:gd name="connsiteX73" fmla="*/ 517999 w 1062084"/>
                  <a:gd name="connsiteY73" fmla="*/ 186332 h 204964"/>
                  <a:gd name="connsiteX74" fmla="*/ 498745 w 1062084"/>
                  <a:gd name="connsiteY74" fmla="*/ 136643 h 204964"/>
                  <a:gd name="connsiteX75" fmla="*/ 531663 w 1062084"/>
                  <a:gd name="connsiteY75" fmla="*/ 135401 h 204964"/>
                  <a:gd name="connsiteX76" fmla="*/ 540980 w 1062084"/>
                  <a:gd name="connsiteY76" fmla="*/ 167698 h 204964"/>
                  <a:gd name="connsiteX77" fmla="*/ 568308 w 1062084"/>
                  <a:gd name="connsiteY77" fmla="*/ 178878 h 204964"/>
                  <a:gd name="connsiteX78" fmla="*/ 594395 w 1062084"/>
                  <a:gd name="connsiteY78" fmla="*/ 167698 h 204964"/>
                  <a:gd name="connsiteX79" fmla="*/ 603711 w 1062084"/>
                  <a:gd name="connsiteY79" fmla="*/ 134780 h 204964"/>
                  <a:gd name="connsiteX80" fmla="*/ 594395 w 1062084"/>
                  <a:gd name="connsiteY80" fmla="*/ 101861 h 204964"/>
                  <a:gd name="connsiteX81" fmla="*/ 568308 w 1062084"/>
                  <a:gd name="connsiteY81" fmla="*/ 90681 h 204964"/>
                  <a:gd name="connsiteX82" fmla="*/ 540980 w 1062084"/>
                  <a:gd name="connsiteY82" fmla="*/ 102482 h 204964"/>
                  <a:gd name="connsiteX83" fmla="*/ 531663 w 1062084"/>
                  <a:gd name="connsiteY83" fmla="*/ 135401 h 204964"/>
                  <a:gd name="connsiteX84" fmla="*/ 684454 w 1062084"/>
                  <a:gd name="connsiteY84" fmla="*/ 102482 h 204964"/>
                  <a:gd name="connsiteX85" fmla="*/ 688802 w 1062084"/>
                  <a:gd name="connsiteY85" fmla="*/ 113041 h 204964"/>
                  <a:gd name="connsiteX86" fmla="*/ 708056 w 1062084"/>
                  <a:gd name="connsiteY86" fmla="*/ 122979 h 204964"/>
                  <a:gd name="connsiteX87" fmla="*/ 734764 w 1062084"/>
                  <a:gd name="connsiteY87" fmla="*/ 140370 h 204964"/>
                  <a:gd name="connsiteX88" fmla="*/ 742217 w 1062084"/>
                  <a:gd name="connsiteY88" fmla="*/ 163351 h 204964"/>
                  <a:gd name="connsiteX89" fmla="*/ 727310 w 1062084"/>
                  <a:gd name="connsiteY89" fmla="*/ 193785 h 204964"/>
                  <a:gd name="connsiteX90" fmla="*/ 687560 w 1062084"/>
                  <a:gd name="connsiteY90" fmla="*/ 205586 h 204964"/>
                  <a:gd name="connsiteX91" fmla="*/ 668927 w 1062084"/>
                  <a:gd name="connsiteY91" fmla="*/ 203723 h 204964"/>
                  <a:gd name="connsiteX92" fmla="*/ 651536 w 1062084"/>
                  <a:gd name="connsiteY92" fmla="*/ 198754 h 204964"/>
                  <a:gd name="connsiteX93" fmla="*/ 651536 w 1062084"/>
                  <a:gd name="connsiteY93" fmla="*/ 167698 h 204964"/>
                  <a:gd name="connsiteX94" fmla="*/ 670169 w 1062084"/>
                  <a:gd name="connsiteY94" fmla="*/ 177015 h 204964"/>
                  <a:gd name="connsiteX95" fmla="*/ 688181 w 1062084"/>
                  <a:gd name="connsiteY95" fmla="*/ 180742 h 204964"/>
                  <a:gd name="connsiteX96" fmla="*/ 704330 w 1062084"/>
                  <a:gd name="connsiteY96" fmla="*/ 177636 h 204964"/>
                  <a:gd name="connsiteX97" fmla="*/ 709298 w 1062084"/>
                  <a:gd name="connsiteY97" fmla="*/ 167698 h 204964"/>
                  <a:gd name="connsiteX98" fmla="*/ 703708 w 1062084"/>
                  <a:gd name="connsiteY98" fmla="*/ 156519 h 204964"/>
                  <a:gd name="connsiteX99" fmla="*/ 683833 w 1062084"/>
                  <a:gd name="connsiteY99" fmla="*/ 145960 h 204964"/>
                  <a:gd name="connsiteX100" fmla="*/ 658989 w 1062084"/>
                  <a:gd name="connsiteY100" fmla="*/ 129190 h 204964"/>
                  <a:gd name="connsiteX101" fmla="*/ 651536 w 1062084"/>
                  <a:gd name="connsiteY101" fmla="*/ 105588 h 204964"/>
                  <a:gd name="connsiteX102" fmla="*/ 665821 w 1062084"/>
                  <a:gd name="connsiteY102" fmla="*/ 75775 h 204964"/>
                  <a:gd name="connsiteX103" fmla="*/ 703708 w 1062084"/>
                  <a:gd name="connsiteY103" fmla="*/ 63974 h 204964"/>
                  <a:gd name="connsiteX104" fmla="*/ 719857 w 1062084"/>
                  <a:gd name="connsiteY104" fmla="*/ 65837 h 204964"/>
                  <a:gd name="connsiteX105" fmla="*/ 734764 w 1062084"/>
                  <a:gd name="connsiteY105" fmla="*/ 70185 h 204964"/>
                  <a:gd name="connsiteX106" fmla="*/ 734764 w 1062084"/>
                  <a:gd name="connsiteY106" fmla="*/ 99377 h 204964"/>
                  <a:gd name="connsiteX107" fmla="*/ 719857 w 1062084"/>
                  <a:gd name="connsiteY107" fmla="*/ 91924 h 204964"/>
                  <a:gd name="connsiteX108" fmla="*/ 703087 w 1062084"/>
                  <a:gd name="connsiteY108" fmla="*/ 88818 h 204964"/>
                  <a:gd name="connsiteX109" fmla="*/ 688802 w 1062084"/>
                  <a:gd name="connsiteY109" fmla="*/ 92545 h 204964"/>
                  <a:gd name="connsiteX110" fmla="*/ 684454 w 1062084"/>
                  <a:gd name="connsiteY110" fmla="*/ 102482 h 204964"/>
                  <a:gd name="connsiteX111" fmla="*/ 756502 w 1062084"/>
                  <a:gd name="connsiteY111" fmla="*/ 136643 h 204964"/>
                  <a:gd name="connsiteX112" fmla="*/ 775135 w 1062084"/>
                  <a:gd name="connsiteY112" fmla="*/ 83849 h 204964"/>
                  <a:gd name="connsiteX113" fmla="*/ 827929 w 1062084"/>
                  <a:gd name="connsiteY113" fmla="*/ 63974 h 204964"/>
                  <a:gd name="connsiteX114" fmla="*/ 877617 w 1062084"/>
                  <a:gd name="connsiteY114" fmla="*/ 82607 h 204964"/>
                  <a:gd name="connsiteX115" fmla="*/ 895629 w 1062084"/>
                  <a:gd name="connsiteY115" fmla="*/ 133538 h 204964"/>
                  <a:gd name="connsiteX116" fmla="*/ 876996 w 1062084"/>
                  <a:gd name="connsiteY116" fmla="*/ 185711 h 204964"/>
                  <a:gd name="connsiteX117" fmla="*/ 825444 w 1062084"/>
                  <a:gd name="connsiteY117" fmla="*/ 204965 h 204964"/>
                  <a:gd name="connsiteX118" fmla="*/ 775756 w 1062084"/>
                  <a:gd name="connsiteY118" fmla="*/ 186332 h 204964"/>
                  <a:gd name="connsiteX119" fmla="*/ 756502 w 1062084"/>
                  <a:gd name="connsiteY119" fmla="*/ 136643 h 204964"/>
                  <a:gd name="connsiteX120" fmla="*/ 789421 w 1062084"/>
                  <a:gd name="connsiteY120" fmla="*/ 135401 h 204964"/>
                  <a:gd name="connsiteX121" fmla="*/ 798737 w 1062084"/>
                  <a:gd name="connsiteY121" fmla="*/ 167698 h 204964"/>
                  <a:gd name="connsiteX122" fmla="*/ 826066 w 1062084"/>
                  <a:gd name="connsiteY122" fmla="*/ 178878 h 204964"/>
                  <a:gd name="connsiteX123" fmla="*/ 852152 w 1062084"/>
                  <a:gd name="connsiteY123" fmla="*/ 167698 h 204964"/>
                  <a:gd name="connsiteX124" fmla="*/ 861468 w 1062084"/>
                  <a:gd name="connsiteY124" fmla="*/ 134780 h 204964"/>
                  <a:gd name="connsiteX125" fmla="*/ 852152 w 1062084"/>
                  <a:gd name="connsiteY125" fmla="*/ 101861 h 204964"/>
                  <a:gd name="connsiteX126" fmla="*/ 826066 w 1062084"/>
                  <a:gd name="connsiteY126" fmla="*/ 90681 h 204964"/>
                  <a:gd name="connsiteX127" fmla="*/ 798737 w 1062084"/>
                  <a:gd name="connsiteY127" fmla="*/ 102482 h 204964"/>
                  <a:gd name="connsiteX128" fmla="*/ 789421 w 1062084"/>
                  <a:gd name="connsiteY128" fmla="*/ 135401 h 204964"/>
                  <a:gd name="connsiteX129" fmla="*/ 1000595 w 1062084"/>
                  <a:gd name="connsiteY129" fmla="*/ 93166 h 204964"/>
                  <a:gd name="connsiteX130" fmla="*/ 953391 w 1062084"/>
                  <a:gd name="connsiteY130" fmla="*/ 93166 h 204964"/>
                  <a:gd name="connsiteX131" fmla="*/ 953391 w 1062084"/>
                  <a:gd name="connsiteY131" fmla="*/ 201859 h 204964"/>
                  <a:gd name="connsiteX132" fmla="*/ 921094 w 1062084"/>
                  <a:gd name="connsiteY132" fmla="*/ 201859 h 204964"/>
                  <a:gd name="connsiteX133" fmla="*/ 921094 w 1062084"/>
                  <a:gd name="connsiteY133" fmla="*/ 93166 h 204964"/>
                  <a:gd name="connsiteX134" fmla="*/ 898734 w 1062084"/>
                  <a:gd name="connsiteY134" fmla="*/ 93166 h 204964"/>
                  <a:gd name="connsiteX135" fmla="*/ 898734 w 1062084"/>
                  <a:gd name="connsiteY135" fmla="*/ 67079 h 204964"/>
                  <a:gd name="connsiteX136" fmla="*/ 921094 w 1062084"/>
                  <a:gd name="connsiteY136" fmla="*/ 67079 h 204964"/>
                  <a:gd name="connsiteX137" fmla="*/ 921094 w 1062084"/>
                  <a:gd name="connsiteY137" fmla="*/ 48446 h 204964"/>
                  <a:gd name="connsiteX138" fmla="*/ 934758 w 1062084"/>
                  <a:gd name="connsiteY138" fmla="*/ 13664 h 204964"/>
                  <a:gd name="connsiteX139" fmla="*/ 970161 w 1062084"/>
                  <a:gd name="connsiteY139" fmla="*/ 0 h 204964"/>
                  <a:gd name="connsiteX140" fmla="*/ 980099 w 1062084"/>
                  <a:gd name="connsiteY140" fmla="*/ 621 h 204964"/>
                  <a:gd name="connsiteX141" fmla="*/ 988173 w 1062084"/>
                  <a:gd name="connsiteY141" fmla="*/ 2484 h 204964"/>
                  <a:gd name="connsiteX142" fmla="*/ 988173 w 1062084"/>
                  <a:gd name="connsiteY142" fmla="*/ 29813 h 204964"/>
                  <a:gd name="connsiteX143" fmla="*/ 982583 w 1062084"/>
                  <a:gd name="connsiteY143" fmla="*/ 27329 h 204964"/>
                  <a:gd name="connsiteX144" fmla="*/ 973267 w 1062084"/>
                  <a:gd name="connsiteY144" fmla="*/ 26086 h 204964"/>
                  <a:gd name="connsiteX145" fmla="*/ 957739 w 1062084"/>
                  <a:gd name="connsiteY145" fmla="*/ 32297 h 204964"/>
                  <a:gd name="connsiteX146" fmla="*/ 952149 w 1062084"/>
                  <a:gd name="connsiteY146" fmla="*/ 50931 h 204964"/>
                  <a:gd name="connsiteX147" fmla="*/ 952149 w 1062084"/>
                  <a:gd name="connsiteY147" fmla="*/ 67079 h 204964"/>
                  <a:gd name="connsiteX148" fmla="*/ 999353 w 1062084"/>
                  <a:gd name="connsiteY148" fmla="*/ 67079 h 204964"/>
                  <a:gd name="connsiteX149" fmla="*/ 999353 w 1062084"/>
                  <a:gd name="connsiteY149" fmla="*/ 36645 h 204964"/>
                  <a:gd name="connsiteX150" fmla="*/ 1031029 w 1062084"/>
                  <a:gd name="connsiteY150" fmla="*/ 26708 h 204964"/>
                  <a:gd name="connsiteX151" fmla="*/ 1031029 w 1062084"/>
                  <a:gd name="connsiteY151" fmla="*/ 66458 h 204964"/>
                  <a:gd name="connsiteX152" fmla="*/ 1063327 w 1062084"/>
                  <a:gd name="connsiteY152" fmla="*/ 66458 h 204964"/>
                  <a:gd name="connsiteX153" fmla="*/ 1063327 w 1062084"/>
                  <a:gd name="connsiteY153" fmla="*/ 93166 h 204964"/>
                  <a:gd name="connsiteX154" fmla="*/ 1031029 w 1062084"/>
                  <a:gd name="connsiteY154" fmla="*/ 93166 h 204964"/>
                  <a:gd name="connsiteX155" fmla="*/ 1031029 w 1062084"/>
                  <a:gd name="connsiteY155" fmla="*/ 156519 h 204964"/>
                  <a:gd name="connsiteX156" fmla="*/ 1035377 w 1062084"/>
                  <a:gd name="connsiteY156" fmla="*/ 173910 h 204964"/>
                  <a:gd name="connsiteX157" fmla="*/ 1049662 w 1062084"/>
                  <a:gd name="connsiteY157" fmla="*/ 178878 h 204964"/>
                  <a:gd name="connsiteX158" fmla="*/ 1056494 w 1062084"/>
                  <a:gd name="connsiteY158" fmla="*/ 177636 h 204964"/>
                  <a:gd name="connsiteX159" fmla="*/ 1063327 w 1062084"/>
                  <a:gd name="connsiteY159" fmla="*/ 174531 h 204964"/>
                  <a:gd name="connsiteX160" fmla="*/ 1063327 w 1062084"/>
                  <a:gd name="connsiteY160" fmla="*/ 200617 h 204964"/>
                  <a:gd name="connsiteX161" fmla="*/ 1053389 w 1062084"/>
                  <a:gd name="connsiteY161" fmla="*/ 203723 h 204964"/>
                  <a:gd name="connsiteX162" fmla="*/ 1039725 w 1062084"/>
                  <a:gd name="connsiteY162" fmla="*/ 204965 h 204964"/>
                  <a:gd name="connsiteX163" fmla="*/ 1009291 w 1062084"/>
                  <a:gd name="connsiteY163" fmla="*/ 194406 h 204964"/>
                  <a:gd name="connsiteX164" fmla="*/ 999353 w 1062084"/>
                  <a:gd name="connsiteY164" fmla="*/ 162109 h 204964"/>
                  <a:gd name="connsiteX165" fmla="*/ 999353 w 1062084"/>
                  <a:gd name="connsiteY165" fmla="*/ 93166 h 2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062084" h="204964">
                    <a:moveTo>
                      <a:pt x="204343" y="13664"/>
                    </a:moveTo>
                    <a:lnTo>
                      <a:pt x="204343" y="201859"/>
                    </a:lnTo>
                    <a:lnTo>
                      <a:pt x="171424" y="201859"/>
                    </a:lnTo>
                    <a:lnTo>
                      <a:pt x="171424" y="54657"/>
                    </a:lnTo>
                    <a:lnTo>
                      <a:pt x="170803" y="54657"/>
                    </a:lnTo>
                    <a:lnTo>
                      <a:pt x="112419" y="202480"/>
                    </a:lnTo>
                    <a:lnTo>
                      <a:pt x="90681" y="202480"/>
                    </a:lnTo>
                    <a:lnTo>
                      <a:pt x="31055" y="54657"/>
                    </a:lnTo>
                    <a:lnTo>
                      <a:pt x="30434" y="54657"/>
                    </a:lnTo>
                    <a:lnTo>
                      <a:pt x="30434" y="202480"/>
                    </a:lnTo>
                    <a:lnTo>
                      <a:pt x="0" y="202480"/>
                    </a:lnTo>
                    <a:lnTo>
                      <a:pt x="0" y="13664"/>
                    </a:lnTo>
                    <a:lnTo>
                      <a:pt x="46583" y="13664"/>
                    </a:lnTo>
                    <a:lnTo>
                      <a:pt x="100618" y="153413"/>
                    </a:lnTo>
                    <a:lnTo>
                      <a:pt x="101240" y="153413"/>
                    </a:lnTo>
                    <a:lnTo>
                      <a:pt x="158381" y="13664"/>
                    </a:lnTo>
                    <a:lnTo>
                      <a:pt x="204343" y="13664"/>
                    </a:lnTo>
                    <a:close/>
                    <a:moveTo>
                      <a:pt x="231671" y="27950"/>
                    </a:moveTo>
                    <a:cubicBezTo>
                      <a:pt x="231671" y="22981"/>
                      <a:pt x="233534" y="18012"/>
                      <a:pt x="237261" y="14907"/>
                    </a:cubicBezTo>
                    <a:cubicBezTo>
                      <a:pt x="240988" y="11180"/>
                      <a:pt x="245335" y="9317"/>
                      <a:pt x="250925" y="9317"/>
                    </a:cubicBezTo>
                    <a:cubicBezTo>
                      <a:pt x="256515" y="9317"/>
                      <a:pt x="260863" y="11180"/>
                      <a:pt x="264589" y="14907"/>
                    </a:cubicBezTo>
                    <a:cubicBezTo>
                      <a:pt x="268316" y="18633"/>
                      <a:pt x="270179" y="22981"/>
                      <a:pt x="270179" y="27950"/>
                    </a:cubicBezTo>
                    <a:cubicBezTo>
                      <a:pt x="270179" y="32919"/>
                      <a:pt x="268316" y="37266"/>
                      <a:pt x="264589" y="40993"/>
                    </a:cubicBezTo>
                    <a:cubicBezTo>
                      <a:pt x="260863" y="44720"/>
                      <a:pt x="256515" y="45962"/>
                      <a:pt x="250925" y="45962"/>
                    </a:cubicBezTo>
                    <a:cubicBezTo>
                      <a:pt x="245335" y="45962"/>
                      <a:pt x="240988" y="44098"/>
                      <a:pt x="237261" y="40372"/>
                    </a:cubicBezTo>
                    <a:cubicBezTo>
                      <a:pt x="233534" y="37887"/>
                      <a:pt x="231671" y="33540"/>
                      <a:pt x="231671" y="27950"/>
                    </a:cubicBezTo>
                    <a:close/>
                    <a:moveTo>
                      <a:pt x="267074" y="67079"/>
                    </a:moveTo>
                    <a:lnTo>
                      <a:pt x="267074" y="201859"/>
                    </a:lnTo>
                    <a:lnTo>
                      <a:pt x="235398" y="201859"/>
                    </a:lnTo>
                    <a:lnTo>
                      <a:pt x="235398" y="67079"/>
                    </a:lnTo>
                    <a:lnTo>
                      <a:pt x="267074" y="67079"/>
                    </a:lnTo>
                    <a:close/>
                    <a:moveTo>
                      <a:pt x="363345" y="178878"/>
                    </a:moveTo>
                    <a:cubicBezTo>
                      <a:pt x="368313" y="178878"/>
                      <a:pt x="373282" y="177636"/>
                      <a:pt x="378872" y="175773"/>
                    </a:cubicBezTo>
                    <a:cubicBezTo>
                      <a:pt x="384462" y="173288"/>
                      <a:pt x="390052" y="170804"/>
                      <a:pt x="394400" y="167077"/>
                    </a:cubicBezTo>
                    <a:lnTo>
                      <a:pt x="394400" y="196890"/>
                    </a:lnTo>
                    <a:cubicBezTo>
                      <a:pt x="389431" y="199996"/>
                      <a:pt x="383841" y="201859"/>
                      <a:pt x="377009" y="203723"/>
                    </a:cubicBezTo>
                    <a:cubicBezTo>
                      <a:pt x="370798" y="204965"/>
                      <a:pt x="363345" y="206207"/>
                      <a:pt x="355891" y="206207"/>
                    </a:cubicBezTo>
                    <a:cubicBezTo>
                      <a:pt x="336016" y="206207"/>
                      <a:pt x="319867" y="199996"/>
                      <a:pt x="307445" y="187574"/>
                    </a:cubicBezTo>
                    <a:cubicBezTo>
                      <a:pt x="295023" y="175152"/>
                      <a:pt x="288812" y="159003"/>
                      <a:pt x="288812" y="139749"/>
                    </a:cubicBezTo>
                    <a:cubicBezTo>
                      <a:pt x="288812" y="118010"/>
                      <a:pt x="295023" y="99998"/>
                      <a:pt x="308067" y="86334"/>
                    </a:cubicBezTo>
                    <a:cubicBezTo>
                      <a:pt x="320489" y="72048"/>
                      <a:pt x="338501" y="65216"/>
                      <a:pt x="362102" y="65216"/>
                    </a:cubicBezTo>
                    <a:cubicBezTo>
                      <a:pt x="368313" y="65216"/>
                      <a:pt x="373903" y="65837"/>
                      <a:pt x="380114" y="67700"/>
                    </a:cubicBezTo>
                    <a:cubicBezTo>
                      <a:pt x="386325" y="68943"/>
                      <a:pt x="391294" y="70806"/>
                      <a:pt x="394400" y="73290"/>
                    </a:cubicBezTo>
                    <a:lnTo>
                      <a:pt x="394400" y="103725"/>
                    </a:lnTo>
                    <a:cubicBezTo>
                      <a:pt x="389431" y="99998"/>
                      <a:pt x="384462" y="97514"/>
                      <a:pt x="379493" y="95650"/>
                    </a:cubicBezTo>
                    <a:cubicBezTo>
                      <a:pt x="374524" y="93787"/>
                      <a:pt x="368934" y="92545"/>
                      <a:pt x="363966" y="92545"/>
                    </a:cubicBezTo>
                    <a:cubicBezTo>
                      <a:pt x="351544" y="92545"/>
                      <a:pt x="341606" y="96892"/>
                      <a:pt x="333532" y="104967"/>
                    </a:cubicBezTo>
                    <a:cubicBezTo>
                      <a:pt x="326079" y="113041"/>
                      <a:pt x="321731" y="124221"/>
                      <a:pt x="321731" y="137885"/>
                    </a:cubicBezTo>
                    <a:cubicBezTo>
                      <a:pt x="321731" y="151550"/>
                      <a:pt x="325457" y="162109"/>
                      <a:pt x="332911" y="169562"/>
                    </a:cubicBezTo>
                    <a:cubicBezTo>
                      <a:pt x="340364" y="175152"/>
                      <a:pt x="350301" y="178878"/>
                      <a:pt x="363345" y="178878"/>
                    </a:cubicBezTo>
                    <a:close/>
                    <a:moveTo>
                      <a:pt x="485081" y="65216"/>
                    </a:moveTo>
                    <a:cubicBezTo>
                      <a:pt x="487565" y="65216"/>
                      <a:pt x="490049" y="65216"/>
                      <a:pt x="491913" y="65837"/>
                    </a:cubicBezTo>
                    <a:cubicBezTo>
                      <a:pt x="493776" y="66458"/>
                      <a:pt x="495639" y="66458"/>
                      <a:pt x="496882" y="67079"/>
                    </a:cubicBezTo>
                    <a:lnTo>
                      <a:pt x="496882" y="99377"/>
                    </a:lnTo>
                    <a:cubicBezTo>
                      <a:pt x="495018" y="98135"/>
                      <a:pt x="492534" y="96892"/>
                      <a:pt x="489428" y="95650"/>
                    </a:cubicBezTo>
                    <a:cubicBezTo>
                      <a:pt x="486323" y="94408"/>
                      <a:pt x="482596" y="93787"/>
                      <a:pt x="477627" y="93787"/>
                    </a:cubicBezTo>
                    <a:cubicBezTo>
                      <a:pt x="469553" y="93787"/>
                      <a:pt x="463342" y="96892"/>
                      <a:pt x="457752" y="103725"/>
                    </a:cubicBezTo>
                    <a:cubicBezTo>
                      <a:pt x="452162" y="110557"/>
                      <a:pt x="449678" y="120494"/>
                      <a:pt x="449678" y="134159"/>
                    </a:cubicBezTo>
                    <a:lnTo>
                      <a:pt x="449678" y="202480"/>
                    </a:lnTo>
                    <a:lnTo>
                      <a:pt x="418002" y="202480"/>
                    </a:lnTo>
                    <a:lnTo>
                      <a:pt x="418002" y="67079"/>
                    </a:lnTo>
                    <a:lnTo>
                      <a:pt x="449678" y="67079"/>
                    </a:lnTo>
                    <a:lnTo>
                      <a:pt x="449678" y="88197"/>
                    </a:lnTo>
                    <a:lnTo>
                      <a:pt x="450299" y="88197"/>
                    </a:lnTo>
                    <a:cubicBezTo>
                      <a:pt x="453404" y="80744"/>
                      <a:pt x="457752" y="75154"/>
                      <a:pt x="463342" y="70806"/>
                    </a:cubicBezTo>
                    <a:cubicBezTo>
                      <a:pt x="469553" y="67079"/>
                      <a:pt x="477006" y="65216"/>
                      <a:pt x="485081" y="65216"/>
                    </a:cubicBezTo>
                    <a:close/>
                    <a:moveTo>
                      <a:pt x="498745" y="136643"/>
                    </a:moveTo>
                    <a:cubicBezTo>
                      <a:pt x="498745" y="114283"/>
                      <a:pt x="504956" y="96892"/>
                      <a:pt x="517378" y="83849"/>
                    </a:cubicBezTo>
                    <a:cubicBezTo>
                      <a:pt x="529800" y="70806"/>
                      <a:pt x="547191" y="63974"/>
                      <a:pt x="570172" y="63974"/>
                    </a:cubicBezTo>
                    <a:cubicBezTo>
                      <a:pt x="591289" y="63974"/>
                      <a:pt x="608059" y="70185"/>
                      <a:pt x="619860" y="82607"/>
                    </a:cubicBezTo>
                    <a:cubicBezTo>
                      <a:pt x="631661" y="95029"/>
                      <a:pt x="637872" y="112420"/>
                      <a:pt x="637872" y="133538"/>
                    </a:cubicBezTo>
                    <a:cubicBezTo>
                      <a:pt x="637872" y="155276"/>
                      <a:pt x="631661" y="172667"/>
                      <a:pt x="619239" y="185711"/>
                    </a:cubicBezTo>
                    <a:cubicBezTo>
                      <a:pt x="606817" y="198754"/>
                      <a:pt x="589426" y="204965"/>
                      <a:pt x="567687" y="204965"/>
                    </a:cubicBezTo>
                    <a:cubicBezTo>
                      <a:pt x="546570" y="204965"/>
                      <a:pt x="530421" y="198754"/>
                      <a:pt x="517999" y="186332"/>
                    </a:cubicBezTo>
                    <a:cubicBezTo>
                      <a:pt x="504956" y="174531"/>
                      <a:pt x="498745" y="157761"/>
                      <a:pt x="498745" y="136643"/>
                    </a:cubicBezTo>
                    <a:close/>
                    <a:moveTo>
                      <a:pt x="531663" y="135401"/>
                    </a:moveTo>
                    <a:cubicBezTo>
                      <a:pt x="531663" y="149686"/>
                      <a:pt x="534769" y="160245"/>
                      <a:pt x="540980" y="167698"/>
                    </a:cubicBezTo>
                    <a:cubicBezTo>
                      <a:pt x="547191" y="175152"/>
                      <a:pt x="556507" y="178878"/>
                      <a:pt x="568308" y="178878"/>
                    </a:cubicBezTo>
                    <a:cubicBezTo>
                      <a:pt x="580109" y="178878"/>
                      <a:pt x="588805" y="175152"/>
                      <a:pt x="594395" y="167698"/>
                    </a:cubicBezTo>
                    <a:cubicBezTo>
                      <a:pt x="600606" y="160245"/>
                      <a:pt x="603711" y="149065"/>
                      <a:pt x="603711" y="134780"/>
                    </a:cubicBezTo>
                    <a:cubicBezTo>
                      <a:pt x="603711" y="120494"/>
                      <a:pt x="600606" y="109315"/>
                      <a:pt x="594395" y="101861"/>
                    </a:cubicBezTo>
                    <a:cubicBezTo>
                      <a:pt x="588183" y="94408"/>
                      <a:pt x="579488" y="90681"/>
                      <a:pt x="568308" y="90681"/>
                    </a:cubicBezTo>
                    <a:cubicBezTo>
                      <a:pt x="556507" y="90681"/>
                      <a:pt x="547812" y="94408"/>
                      <a:pt x="540980" y="102482"/>
                    </a:cubicBezTo>
                    <a:cubicBezTo>
                      <a:pt x="534769" y="109936"/>
                      <a:pt x="531663" y="121116"/>
                      <a:pt x="531663" y="135401"/>
                    </a:cubicBezTo>
                    <a:close/>
                    <a:moveTo>
                      <a:pt x="684454" y="102482"/>
                    </a:moveTo>
                    <a:cubicBezTo>
                      <a:pt x="684454" y="106830"/>
                      <a:pt x="685696" y="110557"/>
                      <a:pt x="688802" y="113041"/>
                    </a:cubicBezTo>
                    <a:cubicBezTo>
                      <a:pt x="691907" y="115526"/>
                      <a:pt x="698119" y="118631"/>
                      <a:pt x="708056" y="122979"/>
                    </a:cubicBezTo>
                    <a:cubicBezTo>
                      <a:pt x="720478" y="127948"/>
                      <a:pt x="729795" y="133538"/>
                      <a:pt x="734764" y="140370"/>
                    </a:cubicBezTo>
                    <a:cubicBezTo>
                      <a:pt x="739732" y="146581"/>
                      <a:pt x="742217" y="154655"/>
                      <a:pt x="742217" y="163351"/>
                    </a:cubicBezTo>
                    <a:cubicBezTo>
                      <a:pt x="742217" y="175773"/>
                      <a:pt x="737248" y="186332"/>
                      <a:pt x="727310" y="193785"/>
                    </a:cubicBezTo>
                    <a:cubicBezTo>
                      <a:pt x="717373" y="201238"/>
                      <a:pt x="704330" y="205586"/>
                      <a:pt x="687560" y="205586"/>
                    </a:cubicBezTo>
                    <a:cubicBezTo>
                      <a:pt x="681970" y="205586"/>
                      <a:pt x="675759" y="204965"/>
                      <a:pt x="668927" y="203723"/>
                    </a:cubicBezTo>
                    <a:cubicBezTo>
                      <a:pt x="662095" y="202480"/>
                      <a:pt x="656505" y="200617"/>
                      <a:pt x="651536" y="198754"/>
                    </a:cubicBezTo>
                    <a:lnTo>
                      <a:pt x="651536" y="167698"/>
                    </a:lnTo>
                    <a:cubicBezTo>
                      <a:pt x="657126" y="171425"/>
                      <a:pt x="663337" y="175152"/>
                      <a:pt x="670169" y="177015"/>
                    </a:cubicBezTo>
                    <a:cubicBezTo>
                      <a:pt x="677001" y="179499"/>
                      <a:pt x="682591" y="180742"/>
                      <a:pt x="688181" y="180742"/>
                    </a:cubicBezTo>
                    <a:cubicBezTo>
                      <a:pt x="695634" y="180742"/>
                      <a:pt x="700603" y="179499"/>
                      <a:pt x="704330" y="177636"/>
                    </a:cubicBezTo>
                    <a:cubicBezTo>
                      <a:pt x="707435" y="175773"/>
                      <a:pt x="709298" y="172046"/>
                      <a:pt x="709298" y="167698"/>
                    </a:cubicBezTo>
                    <a:cubicBezTo>
                      <a:pt x="709298" y="163351"/>
                      <a:pt x="707435" y="159624"/>
                      <a:pt x="703708" y="156519"/>
                    </a:cubicBezTo>
                    <a:cubicBezTo>
                      <a:pt x="699982" y="153413"/>
                      <a:pt x="693150" y="150308"/>
                      <a:pt x="683833" y="145960"/>
                    </a:cubicBezTo>
                    <a:cubicBezTo>
                      <a:pt x="672032" y="140991"/>
                      <a:pt x="663958" y="135401"/>
                      <a:pt x="658989" y="129190"/>
                    </a:cubicBezTo>
                    <a:cubicBezTo>
                      <a:pt x="654020" y="122979"/>
                      <a:pt x="651536" y="115526"/>
                      <a:pt x="651536" y="105588"/>
                    </a:cubicBezTo>
                    <a:cubicBezTo>
                      <a:pt x="651536" y="93166"/>
                      <a:pt x="656505" y="83228"/>
                      <a:pt x="665821" y="75775"/>
                    </a:cubicBezTo>
                    <a:cubicBezTo>
                      <a:pt x="675759" y="67700"/>
                      <a:pt x="688181" y="63974"/>
                      <a:pt x="703708" y="63974"/>
                    </a:cubicBezTo>
                    <a:cubicBezTo>
                      <a:pt x="708677" y="63974"/>
                      <a:pt x="713646" y="64595"/>
                      <a:pt x="719857" y="65837"/>
                    </a:cubicBezTo>
                    <a:cubicBezTo>
                      <a:pt x="725447" y="67079"/>
                      <a:pt x="730416" y="68322"/>
                      <a:pt x="734764" y="70185"/>
                    </a:cubicBezTo>
                    <a:lnTo>
                      <a:pt x="734764" y="99377"/>
                    </a:lnTo>
                    <a:cubicBezTo>
                      <a:pt x="730416" y="96271"/>
                      <a:pt x="725447" y="94408"/>
                      <a:pt x="719857" y="91924"/>
                    </a:cubicBezTo>
                    <a:cubicBezTo>
                      <a:pt x="714267" y="90060"/>
                      <a:pt x="708677" y="88818"/>
                      <a:pt x="703087" y="88818"/>
                    </a:cubicBezTo>
                    <a:cubicBezTo>
                      <a:pt x="696876" y="88818"/>
                      <a:pt x="692529" y="90060"/>
                      <a:pt x="688802" y="92545"/>
                    </a:cubicBezTo>
                    <a:cubicBezTo>
                      <a:pt x="686318" y="95029"/>
                      <a:pt x="684454" y="98756"/>
                      <a:pt x="684454" y="102482"/>
                    </a:cubicBezTo>
                    <a:close/>
                    <a:moveTo>
                      <a:pt x="756502" y="136643"/>
                    </a:moveTo>
                    <a:cubicBezTo>
                      <a:pt x="756502" y="114283"/>
                      <a:pt x="762713" y="96892"/>
                      <a:pt x="775135" y="83849"/>
                    </a:cubicBezTo>
                    <a:cubicBezTo>
                      <a:pt x="787557" y="70806"/>
                      <a:pt x="804948" y="63974"/>
                      <a:pt x="827929" y="63974"/>
                    </a:cubicBezTo>
                    <a:cubicBezTo>
                      <a:pt x="849046" y="63974"/>
                      <a:pt x="865816" y="70185"/>
                      <a:pt x="877617" y="82607"/>
                    </a:cubicBezTo>
                    <a:cubicBezTo>
                      <a:pt x="889418" y="95029"/>
                      <a:pt x="895629" y="112420"/>
                      <a:pt x="895629" y="133538"/>
                    </a:cubicBezTo>
                    <a:cubicBezTo>
                      <a:pt x="895629" y="155276"/>
                      <a:pt x="889418" y="172667"/>
                      <a:pt x="876996" y="185711"/>
                    </a:cubicBezTo>
                    <a:cubicBezTo>
                      <a:pt x="864574" y="198754"/>
                      <a:pt x="847183" y="204965"/>
                      <a:pt x="825444" y="204965"/>
                    </a:cubicBezTo>
                    <a:cubicBezTo>
                      <a:pt x="804327" y="204965"/>
                      <a:pt x="788178" y="198754"/>
                      <a:pt x="775756" y="186332"/>
                    </a:cubicBezTo>
                    <a:cubicBezTo>
                      <a:pt x="762092" y="174531"/>
                      <a:pt x="756502" y="157761"/>
                      <a:pt x="756502" y="136643"/>
                    </a:cubicBezTo>
                    <a:close/>
                    <a:moveTo>
                      <a:pt x="789421" y="135401"/>
                    </a:moveTo>
                    <a:cubicBezTo>
                      <a:pt x="789421" y="149686"/>
                      <a:pt x="792526" y="160245"/>
                      <a:pt x="798737" y="167698"/>
                    </a:cubicBezTo>
                    <a:cubicBezTo>
                      <a:pt x="804948" y="175152"/>
                      <a:pt x="814265" y="178878"/>
                      <a:pt x="826066" y="178878"/>
                    </a:cubicBezTo>
                    <a:cubicBezTo>
                      <a:pt x="837866" y="178878"/>
                      <a:pt x="846562" y="175152"/>
                      <a:pt x="852152" y="167698"/>
                    </a:cubicBezTo>
                    <a:cubicBezTo>
                      <a:pt x="858363" y="160245"/>
                      <a:pt x="861468" y="149065"/>
                      <a:pt x="861468" y="134780"/>
                    </a:cubicBezTo>
                    <a:cubicBezTo>
                      <a:pt x="861468" y="120494"/>
                      <a:pt x="858363" y="109315"/>
                      <a:pt x="852152" y="101861"/>
                    </a:cubicBezTo>
                    <a:cubicBezTo>
                      <a:pt x="845941" y="94408"/>
                      <a:pt x="837245" y="90681"/>
                      <a:pt x="826066" y="90681"/>
                    </a:cubicBezTo>
                    <a:cubicBezTo>
                      <a:pt x="814265" y="90681"/>
                      <a:pt x="805569" y="94408"/>
                      <a:pt x="798737" y="102482"/>
                    </a:cubicBezTo>
                    <a:cubicBezTo>
                      <a:pt x="792526" y="109936"/>
                      <a:pt x="789421" y="121116"/>
                      <a:pt x="789421" y="135401"/>
                    </a:cubicBezTo>
                    <a:close/>
                    <a:moveTo>
                      <a:pt x="1000595" y="93166"/>
                    </a:moveTo>
                    <a:lnTo>
                      <a:pt x="953391" y="93166"/>
                    </a:lnTo>
                    <a:lnTo>
                      <a:pt x="953391" y="201859"/>
                    </a:lnTo>
                    <a:lnTo>
                      <a:pt x="921094" y="201859"/>
                    </a:lnTo>
                    <a:lnTo>
                      <a:pt x="921094" y="93166"/>
                    </a:lnTo>
                    <a:lnTo>
                      <a:pt x="898734" y="93166"/>
                    </a:lnTo>
                    <a:lnTo>
                      <a:pt x="898734" y="67079"/>
                    </a:lnTo>
                    <a:lnTo>
                      <a:pt x="921094" y="67079"/>
                    </a:lnTo>
                    <a:lnTo>
                      <a:pt x="921094" y="48446"/>
                    </a:lnTo>
                    <a:cubicBezTo>
                      <a:pt x="921094" y="34161"/>
                      <a:pt x="925442" y="22360"/>
                      <a:pt x="934758" y="13664"/>
                    </a:cubicBezTo>
                    <a:cubicBezTo>
                      <a:pt x="944075" y="4348"/>
                      <a:pt x="955876" y="0"/>
                      <a:pt x="970161" y="0"/>
                    </a:cubicBezTo>
                    <a:cubicBezTo>
                      <a:pt x="973888" y="0"/>
                      <a:pt x="977614" y="0"/>
                      <a:pt x="980099" y="621"/>
                    </a:cubicBezTo>
                    <a:cubicBezTo>
                      <a:pt x="983204" y="1242"/>
                      <a:pt x="985689" y="1863"/>
                      <a:pt x="988173" y="2484"/>
                    </a:cubicBezTo>
                    <a:lnTo>
                      <a:pt x="988173" y="29813"/>
                    </a:lnTo>
                    <a:cubicBezTo>
                      <a:pt x="986931" y="29192"/>
                      <a:pt x="985068" y="28571"/>
                      <a:pt x="982583" y="27329"/>
                    </a:cubicBezTo>
                    <a:cubicBezTo>
                      <a:pt x="980099" y="26708"/>
                      <a:pt x="976993" y="26086"/>
                      <a:pt x="973267" y="26086"/>
                    </a:cubicBezTo>
                    <a:cubicBezTo>
                      <a:pt x="966435" y="26086"/>
                      <a:pt x="961466" y="27950"/>
                      <a:pt x="957739" y="32297"/>
                    </a:cubicBezTo>
                    <a:cubicBezTo>
                      <a:pt x="954013" y="36645"/>
                      <a:pt x="952149" y="42856"/>
                      <a:pt x="952149" y="50931"/>
                    </a:cubicBezTo>
                    <a:lnTo>
                      <a:pt x="952149" y="67079"/>
                    </a:lnTo>
                    <a:lnTo>
                      <a:pt x="999353" y="67079"/>
                    </a:lnTo>
                    <a:lnTo>
                      <a:pt x="999353" y="36645"/>
                    </a:lnTo>
                    <a:lnTo>
                      <a:pt x="1031029" y="26708"/>
                    </a:lnTo>
                    <a:lnTo>
                      <a:pt x="1031029" y="66458"/>
                    </a:lnTo>
                    <a:lnTo>
                      <a:pt x="1063327" y="66458"/>
                    </a:lnTo>
                    <a:lnTo>
                      <a:pt x="1063327" y="93166"/>
                    </a:lnTo>
                    <a:lnTo>
                      <a:pt x="1031029" y="93166"/>
                    </a:lnTo>
                    <a:lnTo>
                      <a:pt x="1031029" y="156519"/>
                    </a:lnTo>
                    <a:cubicBezTo>
                      <a:pt x="1031029" y="164593"/>
                      <a:pt x="1032271" y="170804"/>
                      <a:pt x="1035377" y="173910"/>
                    </a:cubicBezTo>
                    <a:cubicBezTo>
                      <a:pt x="1038482" y="177015"/>
                      <a:pt x="1043451" y="178878"/>
                      <a:pt x="1049662" y="178878"/>
                    </a:cubicBezTo>
                    <a:cubicBezTo>
                      <a:pt x="1051525" y="178878"/>
                      <a:pt x="1054010" y="178257"/>
                      <a:pt x="1056494" y="177636"/>
                    </a:cubicBezTo>
                    <a:cubicBezTo>
                      <a:pt x="1058979" y="177015"/>
                      <a:pt x="1061463" y="175773"/>
                      <a:pt x="1063327" y="174531"/>
                    </a:cubicBezTo>
                    <a:lnTo>
                      <a:pt x="1063327" y="200617"/>
                    </a:lnTo>
                    <a:cubicBezTo>
                      <a:pt x="1061463" y="201859"/>
                      <a:pt x="1057736" y="203101"/>
                      <a:pt x="1053389" y="203723"/>
                    </a:cubicBezTo>
                    <a:cubicBezTo>
                      <a:pt x="1049041" y="204344"/>
                      <a:pt x="1044072" y="204965"/>
                      <a:pt x="1039725" y="204965"/>
                    </a:cubicBezTo>
                    <a:cubicBezTo>
                      <a:pt x="1026060" y="204965"/>
                      <a:pt x="1016123" y="201238"/>
                      <a:pt x="1009291" y="194406"/>
                    </a:cubicBezTo>
                    <a:cubicBezTo>
                      <a:pt x="1002458" y="187574"/>
                      <a:pt x="999353" y="176394"/>
                      <a:pt x="999353" y="162109"/>
                    </a:cubicBezTo>
                    <a:lnTo>
                      <a:pt x="999353" y="93166"/>
                    </a:lnTo>
                    <a:close/>
                  </a:path>
                </a:pathLst>
              </a:custGeom>
              <a:solidFill>
                <a:schemeClr val="tx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607D2F4D-76C6-4716-A0D1-6650479D2B2D}"/>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6CBF799-1D78-4F1D-9B19-EDB2565BCFF7}"/>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7EBF0149-9671-4DD5-9DC1-462CECEA6DC1}"/>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98BBE6DA-B1E6-4CC3-AE3E-7D61ED9D310C}"/>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D899303F-079F-452E-A8DE-E8144EC5ED8B}"/>
                  </a:ext>
                </a:extLst>
              </p:cNvPr>
              <p:cNvSpPr/>
              <p:nvPr/>
            </p:nvSpPr>
            <p:spPr>
              <a:xfrm>
                <a:off x="1168223"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25022"/>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557B1EB1-564C-4A01-8390-027518BAB602}"/>
                  </a:ext>
                </a:extLst>
              </p:cNvPr>
              <p:cNvSpPr/>
              <p:nvPr/>
            </p:nvSpPr>
            <p:spPr>
              <a:xfrm>
                <a:off x="1381044" y="5069196"/>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7FBA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2DBE0971-5B2D-4651-BF0C-FA2D75F4CE59}"/>
                  </a:ext>
                </a:extLst>
              </p:cNvPr>
              <p:cNvSpPr/>
              <p:nvPr/>
            </p:nvSpPr>
            <p:spPr>
              <a:xfrm>
                <a:off x="1168223"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00A4EF"/>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9BC8DC6-E88C-4A5A-BA8B-4A12B6C60361}"/>
                  </a:ext>
                </a:extLst>
              </p:cNvPr>
              <p:cNvSpPr/>
              <p:nvPr/>
            </p:nvSpPr>
            <p:spPr>
              <a:xfrm>
                <a:off x="1381044" y="5282017"/>
                <a:ext cx="191426" cy="191427"/>
              </a:xfrm>
              <a:custGeom>
                <a:avLst/>
                <a:gdLst>
                  <a:gd name="connsiteX0" fmla="*/ 0 w 211174"/>
                  <a:gd name="connsiteY0" fmla="*/ 0 h 211175"/>
                  <a:gd name="connsiteX1" fmla="*/ 212417 w 211174"/>
                  <a:gd name="connsiteY1" fmla="*/ 0 h 211175"/>
                  <a:gd name="connsiteX2" fmla="*/ 212417 w 211174"/>
                  <a:gd name="connsiteY2" fmla="*/ 212418 h 211175"/>
                  <a:gd name="connsiteX3" fmla="*/ 0 w 211174"/>
                  <a:gd name="connsiteY3" fmla="*/ 212418 h 211175"/>
                </a:gdLst>
                <a:ahLst/>
                <a:cxnLst>
                  <a:cxn ang="0">
                    <a:pos x="connsiteX0" y="connsiteY0"/>
                  </a:cxn>
                  <a:cxn ang="0">
                    <a:pos x="connsiteX1" y="connsiteY1"/>
                  </a:cxn>
                  <a:cxn ang="0">
                    <a:pos x="connsiteX2" y="connsiteY2"/>
                  </a:cxn>
                  <a:cxn ang="0">
                    <a:pos x="connsiteX3" y="connsiteY3"/>
                  </a:cxn>
                </a:cxnLst>
                <a:rect l="l" t="t" r="r" b="b"/>
                <a:pathLst>
                  <a:path w="211174" h="211175">
                    <a:moveTo>
                      <a:pt x="0" y="0"/>
                    </a:moveTo>
                    <a:lnTo>
                      <a:pt x="212417" y="0"/>
                    </a:lnTo>
                    <a:lnTo>
                      <a:pt x="212417" y="212418"/>
                    </a:lnTo>
                    <a:lnTo>
                      <a:pt x="0" y="212418"/>
                    </a:lnTo>
                    <a:close/>
                  </a:path>
                </a:pathLst>
              </a:custGeom>
              <a:solidFill>
                <a:srgbClr val="FFB900"/>
              </a:solidFill>
              <a:ln w="6182" cap="flat">
                <a:noFill/>
                <a:prstDash val="solid"/>
                <a:miter/>
              </a:ln>
            </p:spPr>
            <p:txBody>
              <a:bodyPr lIns="0" tIns="0" rIns="0" bIns="0"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 name="TextBox 2">
            <a:extLst>
              <a:ext uri="{FF2B5EF4-FFF2-40B4-BE49-F238E27FC236}">
                <a16:creationId xmlns:a16="http://schemas.microsoft.com/office/drawing/2014/main" id="{A97AB3EF-4328-4B5B-B729-C8935D697D85}"/>
              </a:ext>
            </a:extLst>
          </p:cNvPr>
          <p:cNvSpPr txBox="1"/>
          <p:nvPr/>
        </p:nvSpPr>
        <p:spPr>
          <a:xfrm>
            <a:off x="4012715" y="5130112"/>
            <a:ext cx="572923" cy="246221"/>
          </a:xfrm>
          <a:prstGeom prst="rect">
            <a:avLst/>
          </a:prstGeom>
          <a:noFill/>
        </p:spPr>
        <p:txBody>
          <a:bodyPr wrap="square" lIns="0" tIns="0" rIns="0" bIns="0" rtlCol="0">
            <a:spAutoFit/>
          </a:bodyPr>
          <a:lstStyle/>
          <a:p>
            <a:pPr algn="l"/>
            <a:r>
              <a:rPr lang="en-US" sz="1600" b="1" dirty="0"/>
              <a:t>AWS</a:t>
            </a:r>
          </a:p>
        </p:txBody>
      </p:sp>
      <p:sp>
        <p:nvSpPr>
          <p:cNvPr id="4" name="TextBox 3">
            <a:extLst>
              <a:ext uri="{FF2B5EF4-FFF2-40B4-BE49-F238E27FC236}">
                <a16:creationId xmlns:a16="http://schemas.microsoft.com/office/drawing/2014/main" id="{45BC4AD7-A5B4-4B0A-A572-86710B7468F8}"/>
              </a:ext>
            </a:extLst>
          </p:cNvPr>
          <p:cNvSpPr txBox="1"/>
          <p:nvPr/>
        </p:nvSpPr>
        <p:spPr>
          <a:xfrm>
            <a:off x="9454570" y="5141832"/>
            <a:ext cx="572923" cy="246221"/>
          </a:xfrm>
          <a:prstGeom prst="rect">
            <a:avLst/>
          </a:prstGeom>
          <a:noFill/>
        </p:spPr>
        <p:txBody>
          <a:bodyPr wrap="square" lIns="0" tIns="0" rIns="0" bIns="0" rtlCol="0">
            <a:spAutoFit/>
          </a:bodyPr>
          <a:lstStyle/>
          <a:p>
            <a:pPr algn="l"/>
            <a:r>
              <a:rPr lang="en-US" sz="1600" b="1" dirty="0"/>
              <a:t>AWS</a:t>
            </a:r>
          </a:p>
        </p:txBody>
      </p:sp>
    </p:spTree>
    <p:extLst>
      <p:ext uri="{BB962C8B-B14F-4D97-AF65-F5344CB8AC3E}">
        <p14:creationId xmlns:p14="http://schemas.microsoft.com/office/powerpoint/2010/main" val="295573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10.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Hybrid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16x9_Template.potx" id="{C11BA8AE-4A84-4CA5-BCFD-9065DCA975FF}" vid="{56D7BF5F-8680-458C-85DD-7D655AF03E99}"/>
    </a:ext>
  </a:extLst>
</a:theme>
</file>

<file path=ppt/theme/theme12.xml><?xml version="1.0" encoding="utf-8"?>
<a:theme xmlns:a="http://schemas.openxmlformats.org/drawingml/2006/main" name="3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4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4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15.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1" id="{0B617442-599A-4C6C-B35C-26293ED822F2}" vid="{58304586-7728-440F-93B2-F859EC8AEF7A}"/>
    </a:ext>
  </a:extLst>
</a:theme>
</file>

<file path=ppt/theme/theme16.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2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4.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5.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6.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ppt/theme/themeOverride2.xml><?xml version="1.0" encoding="utf-8"?>
<a:themeOverride xmlns:a="http://schemas.openxmlformats.org/drawingml/2006/main">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themeOverride>
</file>

<file path=ppt/theme/themeOverride3.xml><?xml version="1.0" encoding="utf-8"?>
<a:themeOverride xmlns:a="http://schemas.openxmlformats.org/drawingml/2006/main">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52F718-DD8E-44E6-8F49-661B843072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C112C2-BC65-479C-82D2-8F8995CE2DE3}">
  <ds:schemaRefs>
    <ds:schemaRef ds:uri="http://www.w3.org/XML/1998/namespace"/>
    <ds:schemaRef ds:uri="http://schemas.microsoft.com/office/infopath/2007/PartnerControls"/>
    <ds:schemaRef ds:uri="http://purl.org/dc/elements/1.1/"/>
    <ds:schemaRef ds:uri="http://schemas.microsoft.com/sharepoint/v3"/>
    <ds:schemaRef ds:uri="http://schemas.openxmlformats.org/package/2006/metadata/core-properties"/>
    <ds:schemaRef ds:uri="http://schemas.microsoft.com/office/2006/documentManagement/types"/>
    <ds:schemaRef ds:uri="http://schemas.microsoft.com/office/2006/metadata/properties"/>
    <ds:schemaRef ds:uri="http://purl.org/dc/dcmitype/"/>
    <ds:schemaRef ds:uri="ef4e99f7-fe95-4544-b30a-d4a0962d5b53"/>
    <ds:schemaRef ds:uri="3a6239b1-84a2-436e-b281-9f1510ef4358"/>
    <ds:schemaRef ds:uri="http://purl.org/dc/terms/"/>
    <ds:schemaRef ds:uri="230e9df3-be65-4c73-a93b-d1236ebd677e"/>
  </ds:schemaRefs>
</ds:datastoreItem>
</file>

<file path=customXml/itemProps3.xml><?xml version="1.0" encoding="utf-8"?>
<ds:datastoreItem xmlns:ds="http://schemas.openxmlformats.org/officeDocument/2006/customXml" ds:itemID="{8839026A-79D1-41C4-B3A2-7F54E2A3A12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68</TotalTime>
  <Words>6869</Words>
  <Application>Microsoft Office PowerPoint</Application>
  <PresentationFormat>Widescreen</PresentationFormat>
  <Paragraphs>734</Paragraphs>
  <Slides>31</Slides>
  <Notes>25</Notes>
  <HiddenSlides>0</HiddenSlides>
  <MMClips>0</MMClips>
  <ScaleCrop>false</ScaleCrop>
  <HeadingPairs>
    <vt:vector size="8" baseType="variant">
      <vt:variant>
        <vt:lpstr>Fonts Used</vt:lpstr>
      </vt:variant>
      <vt:variant>
        <vt:i4>15</vt:i4>
      </vt:variant>
      <vt:variant>
        <vt:lpstr>Theme</vt:lpstr>
      </vt:variant>
      <vt:variant>
        <vt:i4>16</vt:i4>
      </vt:variant>
      <vt:variant>
        <vt:lpstr>Embedded OLE Servers</vt:lpstr>
      </vt:variant>
      <vt:variant>
        <vt:i4>1</vt:i4>
      </vt:variant>
      <vt:variant>
        <vt:lpstr>Slide Titles</vt:lpstr>
      </vt:variant>
      <vt:variant>
        <vt:i4>31</vt:i4>
      </vt:variant>
    </vt:vector>
  </HeadingPairs>
  <TitlesOfParts>
    <vt:vector size="63" baseType="lpstr">
      <vt:lpstr>MS PGothic</vt:lpstr>
      <vt:lpstr>Arial</vt:lpstr>
      <vt:lpstr>Calibri</vt:lpstr>
      <vt:lpstr>Calibri Light</vt:lpstr>
      <vt:lpstr>Consolas</vt:lpstr>
      <vt:lpstr>PMingLiU</vt:lpstr>
      <vt:lpstr>Segoe UI</vt:lpstr>
      <vt:lpstr>Segoe UI Black</vt:lpstr>
      <vt:lpstr>Segoe UI Light</vt:lpstr>
      <vt:lpstr>Segoe UI Semibold</vt:lpstr>
      <vt:lpstr>Segoe UI Semilight</vt:lpstr>
      <vt:lpstr>Symbol</vt:lpstr>
      <vt:lpstr>Times New Roman</vt:lpstr>
      <vt:lpstr>Webdings</vt:lpstr>
      <vt:lpstr>Wingdings</vt:lpstr>
      <vt:lpstr>9-51052_Microsoft_Ready_Template_Light</vt:lpstr>
      <vt:lpstr>3_WHITE TEMPLATE</vt:lpstr>
      <vt:lpstr>2_WHITE TEMPLATE</vt:lpstr>
      <vt:lpstr>1_Azure 1</vt:lpstr>
      <vt:lpstr>4_WHITE TEMPLATE</vt:lpstr>
      <vt:lpstr>1_WHITE TEMPLATE</vt:lpstr>
      <vt:lpstr>2_WHITE TEMPLATE</vt:lpstr>
      <vt:lpstr>1_Azure Design Template</vt:lpstr>
      <vt:lpstr>2_Azure Design Template</vt:lpstr>
      <vt:lpstr>***Black Template</vt:lpstr>
      <vt:lpstr>Hybrid_Template_Dark</vt:lpstr>
      <vt:lpstr>3_Azure Design Template</vt:lpstr>
      <vt:lpstr>4_Azure Design Template</vt:lpstr>
      <vt:lpstr>4_9-51052_Microsoft_Inspire_Template_Dark</vt:lpstr>
      <vt:lpstr>6-51096_Microsoft_Inspire_Black_Template</vt:lpstr>
      <vt:lpstr>3_Office Theme</vt:lpstr>
      <vt:lpstr>think-cell Slide</vt:lpstr>
      <vt:lpstr>Microsoft Azure Immersion Workshop:  Infrastructure Migration</vt:lpstr>
      <vt:lpstr>Economic pressures</vt:lpstr>
      <vt:lpstr>Top of mind</vt:lpstr>
      <vt:lpstr>Business continuity</vt:lpstr>
      <vt:lpstr>How can migrating to the cloud help? </vt:lpstr>
      <vt:lpstr>Migrate to Azure efficiently on your own terms</vt:lpstr>
      <vt:lpstr>Optimize costs during and after migration </vt:lpstr>
      <vt:lpstr>Pay less with Azure. AWS is 5x more expensive. </vt:lpstr>
      <vt:lpstr>SQL Server: Best price-performance on Azure IaaS</vt:lpstr>
      <vt:lpstr>Start with a secure, trusted foundation</vt:lpstr>
      <vt:lpstr>Rely on multi-layered security controls across hybrid environments</vt:lpstr>
      <vt:lpstr>Azure Hybrid</vt:lpstr>
      <vt:lpstr>Enhanced business continuity across hybrid environments</vt:lpstr>
      <vt:lpstr>Best-in-class infrastructure for every workload</vt:lpstr>
      <vt:lpstr>Linux and open source databases offerings on Azure</vt:lpstr>
      <vt:lpstr>Azure App Service</vt:lpstr>
      <vt:lpstr>Azure SQL enables on-demand scale and  operational efficiencies</vt:lpstr>
      <vt:lpstr>Common migration projects</vt:lpstr>
      <vt:lpstr>Migrating your workloads to Azure IaaS</vt:lpstr>
      <vt:lpstr>Migrating your VMware-virtualized infrastructure to  Azure VMware Solution</vt:lpstr>
      <vt:lpstr>Migrating your Virtual Desktop Infrastructure (VDI) to Windows Virtual Desktop</vt:lpstr>
      <vt:lpstr>Modernizing your .NET applications to Azure App Service &amp; Azure SQL   </vt:lpstr>
      <vt:lpstr>Key investments to lower migration costs and help you move with confidence </vt:lpstr>
      <vt:lpstr>Your migration journey Informed by the Microsoft Cloud Adoption Framework for Azure </vt:lpstr>
      <vt:lpstr>Azure Migration Program (AMP)</vt:lpstr>
      <vt:lpstr>Azure Migrate A central hub for datacenter migration</vt:lpstr>
      <vt:lpstr>Assessing migration readiness is a good place to start </vt:lpstr>
      <vt:lpstr>Next steps </vt:lpstr>
      <vt:lpstr>More regions than any other cloud provider</vt:lpstr>
      <vt:lpstr>No migration is ever linear or simple  Drawn from 100s of engagements by FastTrack for Azure  </vt:lpstr>
      <vt:lpstr>Thank you for joining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An Quoc Huy (FHN.TCS)</cp:lastModifiedBy>
  <cp:revision>9</cp:revision>
  <dcterms:created xsi:type="dcterms:W3CDTF">2020-05-05T14:00:51Z</dcterms:created>
  <dcterms:modified xsi:type="dcterms:W3CDTF">2022-06-23T09:0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